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7" r:id="rId2"/>
  </p:sldMasterIdLst>
  <p:notesMasterIdLst>
    <p:notesMasterId r:id="rId31"/>
  </p:notesMasterIdLst>
  <p:sldIdLst>
    <p:sldId id="256" r:id="rId3"/>
    <p:sldId id="303" r:id="rId4"/>
    <p:sldId id="260" r:id="rId5"/>
    <p:sldId id="266" r:id="rId6"/>
    <p:sldId id="274" r:id="rId7"/>
    <p:sldId id="272" r:id="rId8"/>
    <p:sldId id="275" r:id="rId9"/>
    <p:sldId id="276" r:id="rId10"/>
    <p:sldId id="287" r:id="rId11"/>
    <p:sldId id="279" r:id="rId12"/>
    <p:sldId id="283" r:id="rId13"/>
    <p:sldId id="284" r:id="rId14"/>
    <p:sldId id="285" r:id="rId15"/>
    <p:sldId id="295" r:id="rId16"/>
    <p:sldId id="294" r:id="rId17"/>
    <p:sldId id="297" r:id="rId18"/>
    <p:sldId id="288" r:id="rId19"/>
    <p:sldId id="292" r:id="rId20"/>
    <p:sldId id="296" r:id="rId21"/>
    <p:sldId id="293" r:id="rId22"/>
    <p:sldId id="298" r:id="rId23"/>
    <p:sldId id="299" r:id="rId24"/>
    <p:sldId id="300" r:id="rId25"/>
    <p:sldId id="301" r:id="rId26"/>
    <p:sldId id="302" r:id="rId27"/>
    <p:sldId id="270" r:id="rId28"/>
    <p:sldId id="265" r:id="rId29"/>
    <p:sldId id="290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92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216" userDrawn="1">
          <p15:clr>
            <a:srgbClr val="A4A3A4"/>
          </p15:clr>
        </p15:guide>
        <p15:guide id="6" orient="horz" pos="4032" userDrawn="1">
          <p15:clr>
            <a:srgbClr val="A4A3A4"/>
          </p15:clr>
        </p15:guide>
        <p15:guide id="7" orient="horz" pos="6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295E"/>
    <a:srgbClr val="404040"/>
    <a:srgbClr val="A6A6A6"/>
    <a:srgbClr val="E37777"/>
    <a:srgbClr val="7F7F7F"/>
    <a:srgbClr val="F2F2F2"/>
    <a:srgbClr val="BFBFBF"/>
    <a:srgbClr val="64A4CA"/>
    <a:srgbClr val="66C5F3"/>
    <a:srgbClr val="F2C2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1277" y="67"/>
      </p:cViewPr>
      <p:guideLst>
        <p:guide orient="horz" pos="2424"/>
        <p:guide pos="3840"/>
        <p:guide pos="192"/>
        <p:guide pos="7512"/>
        <p:guide orient="horz" pos="216"/>
        <p:guide orient="horz" pos="4032"/>
        <p:guide orient="horz" pos="6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3023A0-2B54-4E79-AA20-143385AB9A6C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48DEA9-6F4F-4540-9E5D-C6F39079AF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659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7238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9AFCD-CC86-4465-AD95-85D2B9349B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607509-85B2-495C-82A8-989CA9862B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B0AA9-8E90-484A-ADD9-31AA1A53D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78E9EE-6889-428D-B6A1-8BAC3E3F5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E1D2A5-6CD9-436C-958A-CC73AA34D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563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243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96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040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230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095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682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758F3-6311-4BBF-9C0A-1ADA7A27E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5818"/>
            <a:ext cx="10515600" cy="498598"/>
          </a:xfrm>
        </p:spPr>
        <p:txBody>
          <a:bodyPr lIns="0" tIns="0" rIns="0" bIns="0" anchor="t">
            <a:spAutoFit/>
          </a:bodyPr>
          <a:lstStyle>
            <a:lvl1pPr algn="ctr">
              <a:defRPr sz="36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86F3C5-5D77-43F9-92A6-DE0777BBB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3187" y="6509710"/>
            <a:ext cx="1561696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B4FB46-0511-4A20-A9DA-85B06B5DF611}"/>
              </a:ext>
            </a:extLst>
          </p:cNvPr>
          <p:cNvSpPr/>
          <p:nvPr userDrawn="1"/>
        </p:nvSpPr>
        <p:spPr>
          <a:xfrm>
            <a:off x="0" y="6511448"/>
            <a:ext cx="10263189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583AD1-0683-4B68-832E-79E5AC88DF1C}"/>
              </a:ext>
            </a:extLst>
          </p:cNvPr>
          <p:cNvSpPr/>
          <p:nvPr userDrawn="1"/>
        </p:nvSpPr>
        <p:spPr>
          <a:xfrm>
            <a:off x="11620500" y="525817"/>
            <a:ext cx="571500" cy="492443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EB2F141-1AB9-4751-90A0-65BD481D8563}"/>
              </a:ext>
            </a:extLst>
          </p:cNvPr>
          <p:cNvSpPr/>
          <p:nvPr userDrawn="1"/>
        </p:nvSpPr>
        <p:spPr>
          <a:xfrm>
            <a:off x="11824884" y="6511448"/>
            <a:ext cx="367116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94255E-A54B-4118-B827-E0382D3A0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7650" y="589475"/>
            <a:ext cx="419100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0FD50806-BABF-4915-9689-3B9956D1C75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3619BB-9A09-40D9-A9F1-A026ABABCFBF}"/>
              </a:ext>
            </a:extLst>
          </p:cNvPr>
          <p:cNvGrpSpPr/>
          <p:nvPr userDrawn="1"/>
        </p:nvGrpSpPr>
        <p:grpSpPr>
          <a:xfrm>
            <a:off x="334126" y="6577411"/>
            <a:ext cx="1084573" cy="141598"/>
            <a:chOff x="334126" y="6490192"/>
            <a:chExt cx="1084573" cy="141598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06B9428-3B49-42EA-ACD3-FF049EF21512}"/>
                </a:ext>
              </a:extLst>
            </p:cNvPr>
            <p:cNvSpPr/>
            <p:nvPr/>
          </p:nvSpPr>
          <p:spPr>
            <a:xfrm rot="18900000" flipH="1">
              <a:off x="33412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A069E56F-ACCE-4A35-B24D-58EA37E4CEA1}"/>
                </a:ext>
              </a:extLst>
            </p:cNvPr>
            <p:cNvSpPr/>
            <p:nvPr/>
          </p:nvSpPr>
          <p:spPr>
            <a:xfrm rot="18900000" flipH="1">
              <a:off x="64845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465AED1-A4C5-416C-90F3-39CC10CEEAF1}"/>
                </a:ext>
              </a:extLst>
            </p:cNvPr>
            <p:cNvSpPr/>
            <p:nvPr/>
          </p:nvSpPr>
          <p:spPr>
            <a:xfrm rot="18900000" flipH="1">
              <a:off x="96277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11431DD-99C5-48BB-92EB-730E9F76D556}"/>
                </a:ext>
              </a:extLst>
            </p:cNvPr>
            <p:cNvSpPr/>
            <p:nvPr/>
          </p:nvSpPr>
          <p:spPr>
            <a:xfrm rot="18900000" flipH="1">
              <a:off x="127710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3828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7129C65-954E-43EB-9F6A-C97D1F580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3187" y="6509710"/>
            <a:ext cx="1561696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8C9F7F1-EEC7-46BD-A1BF-A84E2080AB06}"/>
              </a:ext>
            </a:extLst>
          </p:cNvPr>
          <p:cNvSpPr/>
          <p:nvPr userDrawn="1"/>
        </p:nvSpPr>
        <p:spPr>
          <a:xfrm>
            <a:off x="0" y="6511448"/>
            <a:ext cx="10263189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97E84-B24C-45E1-B5E2-2055DC460E2B}"/>
              </a:ext>
            </a:extLst>
          </p:cNvPr>
          <p:cNvSpPr/>
          <p:nvPr userDrawn="1"/>
        </p:nvSpPr>
        <p:spPr>
          <a:xfrm>
            <a:off x="11620500" y="525817"/>
            <a:ext cx="571500" cy="492443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86CD30-C1F7-4F1C-A2BE-296375984BEE}"/>
              </a:ext>
            </a:extLst>
          </p:cNvPr>
          <p:cNvSpPr/>
          <p:nvPr userDrawn="1"/>
        </p:nvSpPr>
        <p:spPr>
          <a:xfrm>
            <a:off x="11824884" y="6511448"/>
            <a:ext cx="367116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CBA262D7-A96F-4408-8F02-4886014BC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7650" y="589475"/>
            <a:ext cx="419100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0FD50806-BABF-4915-9689-3B9956D1C75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5309FA6-F672-455E-955D-B63C2E15B767}"/>
              </a:ext>
            </a:extLst>
          </p:cNvPr>
          <p:cNvGrpSpPr/>
          <p:nvPr userDrawn="1"/>
        </p:nvGrpSpPr>
        <p:grpSpPr>
          <a:xfrm>
            <a:off x="334126" y="6577411"/>
            <a:ext cx="1084573" cy="141598"/>
            <a:chOff x="334126" y="6490192"/>
            <a:chExt cx="1084573" cy="141598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4FEBCF0-94B1-404B-8C9F-2DCA574C8B2D}"/>
                </a:ext>
              </a:extLst>
            </p:cNvPr>
            <p:cNvSpPr/>
            <p:nvPr/>
          </p:nvSpPr>
          <p:spPr>
            <a:xfrm rot="18900000" flipH="1">
              <a:off x="33412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76D0EC6-9588-45EE-90D4-6E4C69D39683}"/>
                </a:ext>
              </a:extLst>
            </p:cNvPr>
            <p:cNvSpPr/>
            <p:nvPr/>
          </p:nvSpPr>
          <p:spPr>
            <a:xfrm rot="18900000" flipH="1">
              <a:off x="64845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987DA7BA-10C8-4993-9A03-3A5333A3916C}"/>
                </a:ext>
              </a:extLst>
            </p:cNvPr>
            <p:cNvSpPr/>
            <p:nvPr/>
          </p:nvSpPr>
          <p:spPr>
            <a:xfrm rot="18900000" flipH="1">
              <a:off x="96277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19BB0092-77B4-406B-A737-5C223E99A5A5}"/>
                </a:ext>
              </a:extLst>
            </p:cNvPr>
            <p:cNvSpPr/>
            <p:nvPr/>
          </p:nvSpPr>
          <p:spPr>
            <a:xfrm rot="18900000" flipH="1">
              <a:off x="127710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3813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784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83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93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51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499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176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759117-0F16-48ED-9718-C5D09846F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B745ED-7A57-4683-810C-5E5003926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65B1BF-AD50-4239-805D-33B3AEE528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79871-3CD6-4A1B-A275-2552C7EBC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081636-41B2-41A0-9EEE-E0104F888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D50806-BABF-4915-9689-3B9956D1C7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3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102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03/03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72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png"/><Relationship Id="rId12" Type="http://schemas.openxmlformats.org/officeDocument/2006/relationships/hyperlink" Target="https://24slides.com/discount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3.emf"/><Relationship Id="rId11" Type="http://schemas.openxmlformats.org/officeDocument/2006/relationships/image" Target="../media/image11.emf"/><Relationship Id="rId5" Type="http://schemas.openxmlformats.org/officeDocument/2006/relationships/image" Target="../media/image1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hyperlink" Target="https://24slides.com/discount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image" Target="../media/image10.sv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svg"/><Relationship Id="rId1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24slides.com/discount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48" b="587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E70207C-E81D-4E79-9654-07E51237BC3C}"/>
              </a:ext>
            </a:extLst>
          </p:cNvPr>
          <p:cNvSpPr/>
          <p:nvPr/>
        </p:nvSpPr>
        <p:spPr>
          <a:xfrm rot="18900000">
            <a:off x="9999285" y="328273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966781" y="4176660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A111C5-A78D-479B-8C31-7C75D54750E4}"/>
              </a:ext>
            </a:extLst>
          </p:cNvPr>
          <p:cNvSpPr/>
          <p:nvPr/>
        </p:nvSpPr>
        <p:spPr>
          <a:xfrm>
            <a:off x="360470" y="297509"/>
            <a:ext cx="11471060" cy="6262983"/>
          </a:xfrm>
          <a:prstGeom prst="rect">
            <a:avLst/>
          </a:prstGeom>
          <a:noFill/>
          <a:ln>
            <a:solidFill>
              <a:srgbClr val="CE29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907CD1A-2477-48CA-8693-2133EA1C329A}"/>
              </a:ext>
            </a:extLst>
          </p:cNvPr>
          <p:cNvGrpSpPr/>
          <p:nvPr/>
        </p:nvGrpSpPr>
        <p:grpSpPr>
          <a:xfrm>
            <a:off x="4165014" y="1224090"/>
            <a:ext cx="3856603" cy="4409819"/>
            <a:chOff x="4167698" y="1500698"/>
            <a:chExt cx="3856603" cy="440981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85D1319-7BD4-47DE-B3DF-55B655BB34C4}"/>
                </a:ext>
              </a:extLst>
            </p:cNvPr>
            <p:cNvSpPr/>
            <p:nvPr/>
          </p:nvSpPr>
          <p:spPr>
            <a:xfrm rot="18900000">
              <a:off x="4167698" y="1500698"/>
              <a:ext cx="3856602" cy="3856602"/>
            </a:xfrm>
            <a:prstGeom prst="roundRect">
              <a:avLst>
                <a:gd name="adj" fmla="val 11080"/>
              </a:avLst>
            </a:prstGeom>
            <a:solidFill>
              <a:srgbClr val="CE295E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A6B26EE-CB0C-4C1C-981C-B7972827533E}"/>
                </a:ext>
              </a:extLst>
            </p:cNvPr>
            <p:cNvSpPr/>
            <p:nvPr/>
          </p:nvSpPr>
          <p:spPr>
            <a:xfrm rot="18900000">
              <a:off x="4167699" y="2053915"/>
              <a:ext cx="3856602" cy="3856602"/>
            </a:xfrm>
            <a:prstGeom prst="roundRect">
              <a:avLst>
                <a:gd name="adj" fmla="val 11080"/>
              </a:avLst>
            </a:prstGeom>
            <a:solidFill>
              <a:srgbClr val="CE295E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443961" y="2770027"/>
            <a:ext cx="3304076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vi-VN" sz="3600" dirty="0">
                <a:solidFill>
                  <a:schemeClr val="bg1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Segoe WP Semibold" panose="020B0702040204020203" pitchFamily="34" charset="0"/>
                <a:cs typeface="Segoe WP Semibold" panose="020B0702040204020203" pitchFamily="34" charset="0"/>
              </a:rPr>
              <a:t>CÔNG NGHỆ WEB</a:t>
            </a:r>
            <a:endParaRPr lang="en-US" sz="3600" dirty="0">
              <a:solidFill>
                <a:schemeClr val="bg1"/>
              </a:solidFill>
              <a:effectLst>
                <a:outerShdw blurRad="60007" dist="310007" dir="7680000" sy="30000" kx="1300200" algn="ctr" rotWithShape="0">
                  <a:prstClr val="black">
                    <a:alpha val="32000"/>
                  </a:prstClr>
                </a:outerShdw>
              </a:effectLst>
              <a:latin typeface="Segoe WP Semibold" panose="020B0702040204020203" pitchFamily="34" charset="0"/>
              <a:cs typeface="Segoe WP Semibold" panose="020B0702040204020203" pitchFamily="34" charset="0"/>
            </a:endParaRPr>
          </a:p>
        </p:txBody>
      </p:sp>
      <p:sp>
        <p:nvSpPr>
          <p:cNvPr id="18" name="Freeform 29">
            <a:extLst>
              <a:ext uri="{FF2B5EF4-FFF2-40B4-BE49-F238E27FC236}">
                <a16:creationId xmlns:a16="http://schemas.microsoft.com/office/drawing/2014/main" id="{67C7320D-C0D5-4F16-AE9B-39B0CB6441BC}"/>
              </a:ext>
            </a:extLst>
          </p:cNvPr>
          <p:cNvSpPr>
            <a:spLocks noEditPoints="1"/>
          </p:cNvSpPr>
          <p:nvPr/>
        </p:nvSpPr>
        <p:spPr bwMode="auto">
          <a:xfrm>
            <a:off x="5819774" y="1994060"/>
            <a:ext cx="552450" cy="394256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CC445D-99BF-4BD6-A87A-9AB46C82F7C1}"/>
              </a:ext>
            </a:extLst>
          </p:cNvPr>
          <p:cNvSpPr txBox="1"/>
          <p:nvPr/>
        </p:nvSpPr>
        <p:spPr>
          <a:xfrm>
            <a:off x="1866367" y="433391"/>
            <a:ext cx="363972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Trường </a:t>
            </a:r>
            <a:r>
              <a:rPr lang="vi-VN" sz="2000" b="1">
                <a:solidFill>
                  <a:schemeClr val="bg1"/>
                </a:solidFill>
              </a:rPr>
              <a:t>Đại </a:t>
            </a:r>
            <a:r>
              <a:rPr lang="vi-VN" sz="2000" b="1" dirty="0" err="1">
                <a:solidFill>
                  <a:schemeClr val="bg1"/>
                </a:solidFill>
              </a:rPr>
              <a:t>Học</a:t>
            </a:r>
            <a:r>
              <a:rPr lang="vi-VN" sz="2000" b="1" dirty="0">
                <a:solidFill>
                  <a:schemeClr val="bg1"/>
                </a:solidFill>
              </a:rPr>
              <a:t> Công </a:t>
            </a:r>
            <a:r>
              <a:rPr lang="vi-VN" sz="2000" b="1" dirty="0" err="1">
                <a:solidFill>
                  <a:schemeClr val="bg1"/>
                </a:solidFill>
              </a:rPr>
              <a:t>Nghiệ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hực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Phẩm</a:t>
            </a:r>
            <a:r>
              <a:rPr lang="vi-VN" sz="2000" b="1" dirty="0">
                <a:solidFill>
                  <a:schemeClr val="bg1"/>
                </a:solidFill>
              </a:rPr>
              <a:t> TP HCM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4457E54-1FC4-4040-9DF5-1D27FD6BBD8C}"/>
              </a:ext>
            </a:extLst>
          </p:cNvPr>
          <p:cNvSpPr/>
          <p:nvPr/>
        </p:nvSpPr>
        <p:spPr>
          <a:xfrm rot="18900000">
            <a:off x="-6742765" y="-1434593"/>
            <a:ext cx="3681702" cy="3681702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1FF3AA5-65B8-4250-9FA5-E730BA5D93C8}"/>
              </a:ext>
            </a:extLst>
          </p:cNvPr>
          <p:cNvSpPr/>
          <p:nvPr/>
        </p:nvSpPr>
        <p:spPr>
          <a:xfrm>
            <a:off x="9593942" y="5808574"/>
            <a:ext cx="2293258" cy="1049426"/>
          </a:xfrm>
          <a:custGeom>
            <a:avLst/>
            <a:gdLst>
              <a:gd name="connsiteX0" fmla="*/ 1146629 w 2293258"/>
              <a:gd name="connsiteY0" fmla="*/ 0 h 1049426"/>
              <a:gd name="connsiteX1" fmla="*/ 1312564 w 2293258"/>
              <a:gd name="connsiteY1" fmla="*/ 68733 h 1049426"/>
              <a:gd name="connsiteX2" fmla="*/ 2293258 w 2293258"/>
              <a:gd name="connsiteY2" fmla="*/ 1049426 h 1049426"/>
              <a:gd name="connsiteX3" fmla="*/ 0 w 2293258"/>
              <a:gd name="connsiteY3" fmla="*/ 1049426 h 1049426"/>
              <a:gd name="connsiteX4" fmla="*/ 980694 w 2293258"/>
              <a:gd name="connsiteY4" fmla="*/ 68733 h 1049426"/>
              <a:gd name="connsiteX5" fmla="*/ 1146629 w 2293258"/>
              <a:gd name="connsiteY5" fmla="*/ 0 h 104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3258" h="1049426">
                <a:moveTo>
                  <a:pt x="1146629" y="0"/>
                </a:moveTo>
                <a:cubicBezTo>
                  <a:pt x="1206686" y="0"/>
                  <a:pt x="1266742" y="22911"/>
                  <a:pt x="1312564" y="68733"/>
                </a:cubicBezTo>
                <a:lnTo>
                  <a:pt x="2293258" y="1049426"/>
                </a:lnTo>
                <a:lnTo>
                  <a:pt x="0" y="1049426"/>
                </a:lnTo>
                <a:lnTo>
                  <a:pt x="980694" y="68733"/>
                </a:lnTo>
                <a:cubicBezTo>
                  <a:pt x="1026516" y="22911"/>
                  <a:pt x="1086572" y="0"/>
                  <a:pt x="1146629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BCCD400-5AC0-46BA-AF0D-532EA062DDFE}"/>
              </a:ext>
            </a:extLst>
          </p:cNvPr>
          <p:cNvSpPr/>
          <p:nvPr/>
        </p:nvSpPr>
        <p:spPr>
          <a:xfrm>
            <a:off x="0" y="0"/>
            <a:ext cx="2739184" cy="2840643"/>
          </a:xfrm>
          <a:custGeom>
            <a:avLst/>
            <a:gdLst>
              <a:gd name="connsiteX0" fmla="*/ 0 w 2739184"/>
              <a:gd name="connsiteY0" fmla="*/ 0 h 2840643"/>
              <a:gd name="connsiteX1" fmla="*/ 2501897 w 2739184"/>
              <a:gd name="connsiteY1" fmla="*/ 0 h 2840643"/>
              <a:gd name="connsiteX2" fmla="*/ 2619703 w 2739184"/>
              <a:gd name="connsiteY2" fmla="*/ 117806 h 2840643"/>
              <a:gd name="connsiteX3" fmla="*/ 2619703 w 2739184"/>
              <a:gd name="connsiteY3" fmla="*/ 694710 h 2840643"/>
              <a:gd name="connsiteX4" fmla="*/ 593251 w 2739184"/>
              <a:gd name="connsiteY4" fmla="*/ 2721162 h 2840643"/>
              <a:gd name="connsiteX5" fmla="*/ 16347 w 2739184"/>
              <a:gd name="connsiteY5" fmla="*/ 2721162 h 2840643"/>
              <a:gd name="connsiteX6" fmla="*/ 0 w 2739184"/>
              <a:gd name="connsiteY6" fmla="*/ 2704815 h 2840643"/>
              <a:gd name="connsiteX7" fmla="*/ 0 w 2739184"/>
              <a:gd name="connsiteY7" fmla="*/ 0 h 284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39184" h="2840643">
                <a:moveTo>
                  <a:pt x="0" y="0"/>
                </a:moveTo>
                <a:lnTo>
                  <a:pt x="2501897" y="0"/>
                </a:lnTo>
                <a:lnTo>
                  <a:pt x="2619703" y="117806"/>
                </a:lnTo>
                <a:cubicBezTo>
                  <a:pt x="2779011" y="277113"/>
                  <a:pt x="2779011" y="535403"/>
                  <a:pt x="2619703" y="694710"/>
                </a:cubicBezTo>
                <a:lnTo>
                  <a:pt x="593251" y="2721162"/>
                </a:lnTo>
                <a:cubicBezTo>
                  <a:pt x="433944" y="2880470"/>
                  <a:pt x="175654" y="2880470"/>
                  <a:pt x="16347" y="2721162"/>
                </a:cubicBezTo>
                <a:lnTo>
                  <a:pt x="0" y="270481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694F855-F7E7-4478-BC28-08CE25C4310B}"/>
              </a:ext>
            </a:extLst>
          </p:cNvPr>
          <p:cNvSpPr txBox="1"/>
          <p:nvPr/>
        </p:nvSpPr>
        <p:spPr>
          <a:xfrm>
            <a:off x="3347878" y="3263611"/>
            <a:ext cx="5714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vi-VN" sz="3200" b="1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WEBSITE KINH DOANH LAPTOP </a:t>
            </a:r>
            <a:endParaRPr lang="en-US" sz="3200" b="1" dirty="0">
              <a:solidFill>
                <a:schemeClr val="bg1"/>
              </a:solidFill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FDD1E6B-179B-4BF3-8357-E87D407D05EB}"/>
              </a:ext>
            </a:extLst>
          </p:cNvPr>
          <p:cNvSpPr txBox="1"/>
          <p:nvPr/>
        </p:nvSpPr>
        <p:spPr>
          <a:xfrm>
            <a:off x="-435923" y="4077757"/>
            <a:ext cx="5564549" cy="27084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vi-VN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VHD:</a:t>
            </a:r>
            <a:r>
              <a:rPr lang="vi-VN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Nguyễ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Hải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Yến</a:t>
            </a:r>
            <a:endParaRPr lang="vi-VN" sz="2000" b="1" dirty="0">
              <a:solidFill>
                <a:schemeClr val="bg1"/>
              </a:solidFill>
            </a:endParaRPr>
          </a:p>
          <a:p>
            <a:pPr algn="ctr"/>
            <a:endParaRPr lang="vi-VN" sz="2000" b="1" dirty="0">
              <a:solidFill>
                <a:schemeClr val="bg1"/>
              </a:solidFill>
            </a:endParaRPr>
          </a:p>
          <a:p>
            <a:pPr algn="ctr"/>
            <a:endParaRPr lang="vi-VN" sz="20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vi-VN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nh viên </a:t>
            </a:r>
            <a:r>
              <a:rPr lang="vi-VN" sz="2000" b="1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ực</a:t>
            </a:r>
            <a:r>
              <a:rPr lang="vi-VN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vi-VN" sz="2000" b="1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iện</a:t>
            </a:r>
            <a:r>
              <a:rPr lang="vi-VN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:</a:t>
            </a:r>
            <a:endParaRPr lang="vi-VN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>
              <a:lnSpc>
                <a:spcPct val="150000"/>
              </a:lnSpc>
            </a:pPr>
            <a:r>
              <a:rPr lang="vi-VN" sz="2000" b="1" dirty="0">
                <a:solidFill>
                  <a:schemeClr val="bg1"/>
                </a:solidFill>
              </a:rPr>
              <a:t>Lê Văn Thông – 2001190836</a:t>
            </a:r>
          </a:p>
          <a:p>
            <a:pPr algn="ctr">
              <a:lnSpc>
                <a:spcPct val="150000"/>
              </a:lnSpc>
            </a:pPr>
            <a:r>
              <a:rPr lang="vi-VN" sz="2000" b="1" dirty="0">
                <a:solidFill>
                  <a:schemeClr val="bg1"/>
                </a:solidFill>
              </a:rPr>
              <a:t>Đặng </a:t>
            </a:r>
            <a:r>
              <a:rPr lang="vi-VN" sz="2000" b="1" dirty="0" err="1">
                <a:solidFill>
                  <a:schemeClr val="bg1"/>
                </a:solidFill>
              </a:rPr>
              <a:t>Quốc</a:t>
            </a:r>
            <a:r>
              <a:rPr lang="vi-VN" sz="2000" b="1" dirty="0">
                <a:solidFill>
                  <a:schemeClr val="bg1"/>
                </a:solidFill>
              </a:rPr>
              <a:t> Anh Thái - 2001190806</a:t>
            </a: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22" name="Picture 21" descr="Nhận diện thương hiệu HUFI">
            <a:extLst>
              <a:ext uri="{FF2B5EF4-FFF2-40B4-BE49-F238E27FC236}">
                <a16:creationId xmlns:a16="http://schemas.microsoft.com/office/drawing/2014/main" id="{CD19A6E3-54BD-4F9C-AD29-92737039C936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352" y="328142"/>
            <a:ext cx="1667687" cy="1300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59401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398955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1. Giao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vi-VN" sz="2400" b="1" dirty="0">
                <a:solidFill>
                  <a:srgbClr val="CE295E"/>
                </a:solidFill>
                <a:ea typeface="Gadugi" panose="020B0502040204020203" pitchFamily="34" charset="0"/>
              </a:rPr>
              <a:t> trang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chủ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 rot="5400000">
            <a:off x="10668829" y="4201742"/>
            <a:ext cx="2482294" cy="2830222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 rot="5400000">
            <a:off x="446429" y="-433516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EAD320-7AD9-4F08-897F-9421FF662F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7805" y="580127"/>
            <a:ext cx="8742928" cy="5046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86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306286" y="0"/>
            <a:ext cx="9517224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894783" y="6260469"/>
            <a:ext cx="473172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2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Xem chi tiết sản phẩm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DA4E9D-C779-42D7-825D-A3F2DD9CAE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9779" y="513565"/>
            <a:ext cx="7632441" cy="500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1741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457201" y="0"/>
            <a:ext cx="11262048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745305" y="6260469"/>
            <a:ext cx="398955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3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giỏ hàng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66FDFC2-8373-4C63-9236-803A393DAEF2}"/>
              </a:ext>
            </a:extLst>
          </p:cNvPr>
          <p:cNvSpPr/>
          <p:nvPr/>
        </p:nvSpPr>
        <p:spPr>
          <a:xfrm rot="16200000">
            <a:off x="1427758" y="-471381"/>
            <a:ext cx="2164892" cy="5020408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0EFB9ED-6383-4A3B-9133-A0DDCDD4C5AF}"/>
              </a:ext>
            </a:extLst>
          </p:cNvPr>
          <p:cNvSpPr/>
          <p:nvPr/>
        </p:nvSpPr>
        <p:spPr>
          <a:xfrm rot="5400000">
            <a:off x="8771138" y="1689178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114396-226B-405E-B8E3-9F289018E4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350" y="535730"/>
            <a:ext cx="10161037" cy="491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4224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054359" y="0"/>
            <a:ext cx="10300996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638800" y="6260469"/>
            <a:ext cx="6615403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3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tiến hành đặt hàng tại giỏ hàng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BFECC7B-2C78-45E1-8DFC-F027D476BA1A}"/>
              </a:ext>
            </a:extLst>
          </p:cNvPr>
          <p:cNvSpPr/>
          <p:nvPr/>
        </p:nvSpPr>
        <p:spPr>
          <a:xfrm rot="18900000">
            <a:off x="618089" y="52813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710984-2C22-4D44-95D8-B4C9E937B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1876" y="541590"/>
            <a:ext cx="6797830" cy="506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253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054359" y="0"/>
            <a:ext cx="10300996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638800" y="6260469"/>
            <a:ext cx="6615403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4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khi đặt hàng thành công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BFECC7B-2C78-45E1-8DFC-F027D476BA1A}"/>
              </a:ext>
            </a:extLst>
          </p:cNvPr>
          <p:cNvSpPr/>
          <p:nvPr/>
        </p:nvSpPr>
        <p:spPr>
          <a:xfrm rot="18900000">
            <a:off x="618089" y="52813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A8E81D-F036-4F82-9766-A5914EB818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997" y="574133"/>
            <a:ext cx="8390347" cy="5014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431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054359" y="0"/>
            <a:ext cx="10300996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638800" y="6260469"/>
            <a:ext cx="6615403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4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sửa thông tin khi nhập sai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BFECC7B-2C78-45E1-8DFC-F027D476BA1A}"/>
              </a:ext>
            </a:extLst>
          </p:cNvPr>
          <p:cNvSpPr/>
          <p:nvPr/>
        </p:nvSpPr>
        <p:spPr>
          <a:xfrm rot="18900000">
            <a:off x="618089" y="52813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FAC922-1FF0-4BDD-9FAE-9DD915A71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1282" y="450220"/>
            <a:ext cx="6447150" cy="500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5460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054359" y="0"/>
            <a:ext cx="10300996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638800" y="6238459"/>
            <a:ext cx="6615403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5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mua ngay khi không thêm vào giỏ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BFECC7B-2C78-45E1-8DFC-F027D476BA1A}"/>
              </a:ext>
            </a:extLst>
          </p:cNvPr>
          <p:cNvSpPr/>
          <p:nvPr/>
        </p:nvSpPr>
        <p:spPr>
          <a:xfrm rot="18900000">
            <a:off x="618089" y="52813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9DBD66-AE15-4F10-8F0F-4D9AFB520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3204" y="580129"/>
            <a:ext cx="5009857" cy="499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6091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398955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6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</a:t>
            </a:r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iao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vi-VN" sz="2400" b="1" dirty="0">
                <a:solidFill>
                  <a:srgbClr val="CE295E"/>
                </a:solidFill>
                <a:ea typeface="Gadugi" panose="020B0502040204020203" pitchFamily="34" charset="0"/>
              </a:rPr>
              <a:t> đăng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ký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 rot="5400000">
            <a:off x="10668829" y="4201742"/>
            <a:ext cx="2482294" cy="2830222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 rot="5400000">
            <a:off x="446429" y="-433516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F687C5-7EEF-4322-A602-6F995DF8A2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6890" y="531914"/>
            <a:ext cx="5234473" cy="502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3880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398955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7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</a:t>
            </a:r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iao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vi-VN" sz="2400" b="1" dirty="0">
                <a:solidFill>
                  <a:srgbClr val="CE295E"/>
                </a:solidFill>
                <a:ea typeface="Gadugi" panose="020B0502040204020203" pitchFamily="34" charset="0"/>
              </a:rPr>
              <a:t> đăng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nhập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 rot="5400000">
            <a:off x="10668829" y="4201742"/>
            <a:ext cx="2482294" cy="2830222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 rot="5400000">
            <a:off x="446429" y="-433516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4D5F4C8-3ABD-4ABC-8C1B-73DCF6CB0AD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9" t="9743" r="13173" b="9235"/>
          <a:stretch/>
        </p:blipFill>
        <p:spPr>
          <a:xfrm>
            <a:off x="2085543" y="459966"/>
            <a:ext cx="8298172" cy="5077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095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179726" y="6260469"/>
            <a:ext cx="5034612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8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</a:t>
            </a:r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iao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vi-VN" sz="2400" b="1" dirty="0">
                <a:solidFill>
                  <a:srgbClr val="CE295E"/>
                </a:solidFill>
                <a:ea typeface="Gadugi" panose="020B0502040204020203" pitchFamily="34" charset="0"/>
              </a:rPr>
              <a:t>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đăng nhập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thành công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 rot="5400000">
            <a:off x="10668829" y="4201742"/>
            <a:ext cx="2482294" cy="2830222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 rot="5400000">
            <a:off x="446429" y="-433516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E6AB8E-2ACF-45A6-B567-F0B041DD66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4035" y="893152"/>
            <a:ext cx="6977289" cy="390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915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48" b="587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E70207C-E81D-4E79-9654-07E51237BC3C}"/>
              </a:ext>
            </a:extLst>
          </p:cNvPr>
          <p:cNvSpPr/>
          <p:nvPr/>
        </p:nvSpPr>
        <p:spPr>
          <a:xfrm rot="18900000">
            <a:off x="9999285" y="328273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966781" y="4176660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A111C5-A78D-479B-8C31-7C75D54750E4}"/>
              </a:ext>
            </a:extLst>
          </p:cNvPr>
          <p:cNvSpPr/>
          <p:nvPr/>
        </p:nvSpPr>
        <p:spPr>
          <a:xfrm>
            <a:off x="360470" y="297509"/>
            <a:ext cx="11471060" cy="6262983"/>
          </a:xfrm>
          <a:prstGeom prst="rect">
            <a:avLst/>
          </a:prstGeom>
          <a:noFill/>
          <a:ln>
            <a:solidFill>
              <a:srgbClr val="CE29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4457E54-1FC4-4040-9DF5-1D27FD6BBD8C}"/>
              </a:ext>
            </a:extLst>
          </p:cNvPr>
          <p:cNvSpPr/>
          <p:nvPr/>
        </p:nvSpPr>
        <p:spPr>
          <a:xfrm rot="18900000">
            <a:off x="-6742765" y="-1434593"/>
            <a:ext cx="3681702" cy="3681702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1FF3AA5-65B8-4250-9FA5-E730BA5D93C8}"/>
              </a:ext>
            </a:extLst>
          </p:cNvPr>
          <p:cNvSpPr/>
          <p:nvPr/>
        </p:nvSpPr>
        <p:spPr>
          <a:xfrm>
            <a:off x="9593942" y="5808574"/>
            <a:ext cx="2293258" cy="1049426"/>
          </a:xfrm>
          <a:custGeom>
            <a:avLst/>
            <a:gdLst>
              <a:gd name="connsiteX0" fmla="*/ 1146629 w 2293258"/>
              <a:gd name="connsiteY0" fmla="*/ 0 h 1049426"/>
              <a:gd name="connsiteX1" fmla="*/ 1312564 w 2293258"/>
              <a:gd name="connsiteY1" fmla="*/ 68733 h 1049426"/>
              <a:gd name="connsiteX2" fmla="*/ 2293258 w 2293258"/>
              <a:gd name="connsiteY2" fmla="*/ 1049426 h 1049426"/>
              <a:gd name="connsiteX3" fmla="*/ 0 w 2293258"/>
              <a:gd name="connsiteY3" fmla="*/ 1049426 h 1049426"/>
              <a:gd name="connsiteX4" fmla="*/ 980694 w 2293258"/>
              <a:gd name="connsiteY4" fmla="*/ 68733 h 1049426"/>
              <a:gd name="connsiteX5" fmla="*/ 1146629 w 2293258"/>
              <a:gd name="connsiteY5" fmla="*/ 0 h 104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3258" h="1049426">
                <a:moveTo>
                  <a:pt x="1146629" y="0"/>
                </a:moveTo>
                <a:cubicBezTo>
                  <a:pt x="1206686" y="0"/>
                  <a:pt x="1266742" y="22911"/>
                  <a:pt x="1312564" y="68733"/>
                </a:cubicBezTo>
                <a:lnTo>
                  <a:pt x="2293258" y="1049426"/>
                </a:lnTo>
                <a:lnTo>
                  <a:pt x="0" y="1049426"/>
                </a:lnTo>
                <a:lnTo>
                  <a:pt x="980694" y="68733"/>
                </a:lnTo>
                <a:cubicBezTo>
                  <a:pt x="1026516" y="22911"/>
                  <a:pt x="1086572" y="0"/>
                  <a:pt x="1146629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BCCD400-5AC0-46BA-AF0D-532EA062DDFE}"/>
              </a:ext>
            </a:extLst>
          </p:cNvPr>
          <p:cNvSpPr/>
          <p:nvPr/>
        </p:nvSpPr>
        <p:spPr>
          <a:xfrm>
            <a:off x="0" y="0"/>
            <a:ext cx="2739184" cy="2840643"/>
          </a:xfrm>
          <a:custGeom>
            <a:avLst/>
            <a:gdLst>
              <a:gd name="connsiteX0" fmla="*/ 0 w 2739184"/>
              <a:gd name="connsiteY0" fmla="*/ 0 h 2840643"/>
              <a:gd name="connsiteX1" fmla="*/ 2501897 w 2739184"/>
              <a:gd name="connsiteY1" fmla="*/ 0 h 2840643"/>
              <a:gd name="connsiteX2" fmla="*/ 2619703 w 2739184"/>
              <a:gd name="connsiteY2" fmla="*/ 117806 h 2840643"/>
              <a:gd name="connsiteX3" fmla="*/ 2619703 w 2739184"/>
              <a:gd name="connsiteY3" fmla="*/ 694710 h 2840643"/>
              <a:gd name="connsiteX4" fmla="*/ 593251 w 2739184"/>
              <a:gd name="connsiteY4" fmla="*/ 2721162 h 2840643"/>
              <a:gd name="connsiteX5" fmla="*/ 16347 w 2739184"/>
              <a:gd name="connsiteY5" fmla="*/ 2721162 h 2840643"/>
              <a:gd name="connsiteX6" fmla="*/ 0 w 2739184"/>
              <a:gd name="connsiteY6" fmla="*/ 2704815 h 2840643"/>
              <a:gd name="connsiteX7" fmla="*/ 0 w 2739184"/>
              <a:gd name="connsiteY7" fmla="*/ 0 h 284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39184" h="2840643">
                <a:moveTo>
                  <a:pt x="0" y="0"/>
                </a:moveTo>
                <a:lnTo>
                  <a:pt x="2501897" y="0"/>
                </a:lnTo>
                <a:lnTo>
                  <a:pt x="2619703" y="117806"/>
                </a:lnTo>
                <a:cubicBezTo>
                  <a:pt x="2779011" y="277113"/>
                  <a:pt x="2779011" y="535403"/>
                  <a:pt x="2619703" y="694710"/>
                </a:cubicBezTo>
                <a:lnTo>
                  <a:pt x="593251" y="2721162"/>
                </a:lnTo>
                <a:cubicBezTo>
                  <a:pt x="433944" y="2880470"/>
                  <a:pt x="175654" y="2880470"/>
                  <a:pt x="16347" y="2721162"/>
                </a:cubicBezTo>
                <a:lnTo>
                  <a:pt x="0" y="270481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08F610F5-1D5B-48C0-9AB2-E4C2AC2871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372331"/>
              </p:ext>
            </p:extLst>
          </p:nvPr>
        </p:nvGraphicFramePr>
        <p:xfrm>
          <a:off x="873478" y="1724025"/>
          <a:ext cx="10013598" cy="2932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7866">
                  <a:extLst>
                    <a:ext uri="{9D8B030D-6E8A-4147-A177-3AD203B41FA5}">
                      <a16:colId xmlns:a16="http://schemas.microsoft.com/office/drawing/2014/main" val="915264639"/>
                    </a:ext>
                  </a:extLst>
                </a:gridCol>
                <a:gridCol w="3337866">
                  <a:extLst>
                    <a:ext uri="{9D8B030D-6E8A-4147-A177-3AD203B41FA5}">
                      <a16:colId xmlns:a16="http://schemas.microsoft.com/office/drawing/2014/main" val="2807149293"/>
                    </a:ext>
                  </a:extLst>
                </a:gridCol>
                <a:gridCol w="3337866">
                  <a:extLst>
                    <a:ext uri="{9D8B030D-6E8A-4147-A177-3AD203B41FA5}">
                      <a16:colId xmlns:a16="http://schemas.microsoft.com/office/drawing/2014/main" val="3866397452"/>
                    </a:ext>
                  </a:extLst>
                </a:gridCol>
              </a:tblGrid>
              <a:tr h="855746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Thành viên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Công việc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Đánh giá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2945334"/>
                  </a:ext>
                </a:extLst>
              </a:tr>
              <a:tr h="10385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vi-VN" sz="1800" b="1">
                          <a:solidFill>
                            <a:schemeClr val="tx1"/>
                          </a:solidFill>
                        </a:rPr>
                        <a:t>Lê Văn Thông – 2001190836</a:t>
                      </a:r>
                    </a:p>
                    <a:p>
                      <a:pPr algn="ctr"/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Backend (csdl)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0790520"/>
                  </a:ext>
                </a:extLst>
              </a:tr>
              <a:tr h="10385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vi-VN" sz="1800" b="1">
                          <a:solidFill>
                            <a:schemeClr val="tx1"/>
                          </a:solidFill>
                        </a:rPr>
                        <a:t>Đặng Quốc Anh Thái - 2001190806</a:t>
                      </a:r>
                    </a:p>
                    <a:p>
                      <a:pPr algn="ctr"/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Front-end (giao diện)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736650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20000AE-3A5C-485A-968C-B3A173504E5B}"/>
              </a:ext>
            </a:extLst>
          </p:cNvPr>
          <p:cNvSpPr txBox="1"/>
          <p:nvPr/>
        </p:nvSpPr>
        <p:spPr>
          <a:xfrm>
            <a:off x="652480" y="612734"/>
            <a:ext cx="796157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 công công việc và đánh giá</a:t>
            </a:r>
            <a:endParaRPr lang="en-GB" sz="250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9012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3442953" y="6224752"/>
            <a:ext cx="653228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9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khi đăng nhập bằng tài khoản admin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9D0F6D-B449-4F3A-AA4A-45DF38CEC9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7805" y="976310"/>
            <a:ext cx="8645151" cy="4083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838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44841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1</a:t>
            </a:r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0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quản lý sản phẩm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810F85-E7A3-4E5E-91CF-41F806BBD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7797" y="814622"/>
            <a:ext cx="8652351" cy="4233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033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44841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1</a:t>
            </a:r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1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quản lý đơn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E0B97A-1B48-4421-B9D4-6CBC0AFFDD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7797" y="916945"/>
            <a:ext cx="8670513" cy="426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535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44841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9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quản lý khách hàng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9D0F6D-B449-4F3A-AA4A-45DF38CEC9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7805" y="976310"/>
            <a:ext cx="8645151" cy="4083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0237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44841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9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quản lý khuyến mãi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C526C6-3AF1-4D13-9474-7DD807B6CB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7797" y="1073020"/>
            <a:ext cx="8616325" cy="3917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5335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44841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9</a:t>
            </a:r>
            <a:r>
              <a:rPr lang="en-US" sz="2400" b="1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. Giao </a:t>
            </a:r>
            <a:r>
              <a:rPr lang="vi-VN" sz="2400" b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en-US" sz="2400" b="1">
                <a:solidFill>
                  <a:srgbClr val="CE295E"/>
                </a:solidFill>
                <a:ea typeface="Gadugi" panose="020B0502040204020203" pitchFamily="34" charset="0"/>
              </a:rPr>
              <a:t> quản lý hình ảnh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ED7AAC-8905-47EA-9C12-84E17A5027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7797" y="1150040"/>
            <a:ext cx="8531150" cy="369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27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294643" y="4842880"/>
            <a:ext cx="3863142" cy="1931571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2C9747-202E-41E0-8BEF-BBF25331BE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8859" y="2420938"/>
            <a:ext cx="4718841" cy="46317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7930" y="1"/>
            <a:ext cx="3504070" cy="2279346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 rot="16200000">
            <a:off x="-1113197" y="102325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6B8B620-ECA5-4287-91FE-C7C3139C40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4790110"/>
            <a:ext cx="2581118" cy="206789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52B06BD-3598-4CB9-9F86-C02EF38446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6683091" y="5372100"/>
            <a:ext cx="3351177" cy="14859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C6757DB-20ED-47C1-8841-9C1669A40A2F}"/>
              </a:ext>
            </a:extLst>
          </p:cNvPr>
          <p:cNvSpPr txBox="1"/>
          <p:nvPr/>
        </p:nvSpPr>
        <p:spPr>
          <a:xfrm>
            <a:off x="971330" y="1344248"/>
            <a:ext cx="7518547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vi-VN" sz="2000" b="1" dirty="0">
                <a:solidFill>
                  <a:schemeClr val="bg1"/>
                </a:solidFill>
              </a:rPr>
              <a:t>Giao </a:t>
            </a:r>
            <a:r>
              <a:rPr lang="vi-VN" sz="2000" b="1" dirty="0" err="1">
                <a:solidFill>
                  <a:schemeClr val="bg1"/>
                </a:solidFill>
              </a:rPr>
              <a:t>diện</a:t>
            </a:r>
            <a:r>
              <a:rPr lang="vi-VN" sz="2000" b="1" dirty="0">
                <a:solidFill>
                  <a:schemeClr val="bg1"/>
                </a:solidFill>
              </a:rPr>
              <a:t> thân </a:t>
            </a:r>
            <a:r>
              <a:rPr lang="vi-VN" sz="2000" b="1" dirty="0" err="1">
                <a:solidFill>
                  <a:schemeClr val="bg1"/>
                </a:solidFill>
              </a:rPr>
              <a:t>thiện</a:t>
            </a:r>
            <a:r>
              <a:rPr lang="vi-VN" sz="2000" b="1" dirty="0">
                <a:solidFill>
                  <a:schemeClr val="bg1"/>
                </a:solidFill>
              </a:rPr>
              <a:t> , </a:t>
            </a:r>
            <a:r>
              <a:rPr lang="vi-VN" sz="2000" b="1" dirty="0" err="1">
                <a:solidFill>
                  <a:schemeClr val="bg1"/>
                </a:solidFill>
              </a:rPr>
              <a:t>dễ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nhì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vi-VN" sz="2000" b="1" dirty="0" err="1">
                <a:solidFill>
                  <a:schemeClr val="bg1"/>
                </a:solidFill>
              </a:rPr>
              <a:t>Website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đá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ứng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được</a:t>
            </a:r>
            <a:r>
              <a:rPr lang="vi-VN" sz="2000" b="1" dirty="0">
                <a:solidFill>
                  <a:schemeClr val="bg1"/>
                </a:solidFill>
              </a:rPr>
              <a:t> yêu </a:t>
            </a:r>
            <a:r>
              <a:rPr lang="vi-VN" sz="2000" b="1" dirty="0" err="1">
                <a:solidFill>
                  <a:schemeClr val="bg1"/>
                </a:solidFill>
              </a:rPr>
              <a:t>cầu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nghiệ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vụ</a:t>
            </a:r>
            <a:r>
              <a:rPr lang="vi-VN" sz="2000" b="1" dirty="0">
                <a:solidFill>
                  <a:schemeClr val="bg1"/>
                </a:solidFill>
              </a:rPr>
              <a:t> cơ </a:t>
            </a:r>
            <a:r>
              <a:rPr lang="vi-VN" sz="2000" b="1" dirty="0" err="1">
                <a:solidFill>
                  <a:schemeClr val="bg1"/>
                </a:solidFill>
              </a:rPr>
              <a:t>bả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</a:p>
          <a:p>
            <a:r>
              <a:rPr lang="vi-VN" sz="2000" b="1" dirty="0">
                <a:solidFill>
                  <a:schemeClr val="bg1"/>
                </a:solidFill>
              </a:rPr>
              <a:t>       </a:t>
            </a:r>
            <a:r>
              <a:rPr lang="vi-VN" sz="2000" b="1" dirty="0" err="1">
                <a:solidFill>
                  <a:schemeClr val="bg1"/>
                </a:solidFill>
              </a:rPr>
              <a:t>của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quá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rình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bá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hàng</a:t>
            </a:r>
            <a:r>
              <a:rPr lang="vi-VN" sz="2000" b="1" dirty="0">
                <a:solidFill>
                  <a:schemeClr val="bg1"/>
                </a:solidFill>
              </a:rPr>
              <a:t> : </a:t>
            </a:r>
            <a:r>
              <a:rPr lang="vi-VN" sz="2000" b="1" dirty="0" err="1">
                <a:solidFill>
                  <a:schemeClr val="bg1"/>
                </a:solidFill>
              </a:rPr>
              <a:t>quả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lý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sả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phẩm</a:t>
            </a:r>
            <a:r>
              <a:rPr lang="vi-VN" sz="2000" b="1" dirty="0">
                <a:solidFill>
                  <a:schemeClr val="bg1"/>
                </a:solidFill>
              </a:rPr>
              <a:t> , </a:t>
            </a:r>
            <a:r>
              <a:rPr lang="vi-VN" sz="2000" b="1" dirty="0" err="1">
                <a:solidFill>
                  <a:schemeClr val="bg1"/>
                </a:solidFill>
              </a:rPr>
              <a:t>quả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</a:p>
          <a:p>
            <a:r>
              <a:rPr lang="vi-VN" sz="2000" b="1" dirty="0">
                <a:solidFill>
                  <a:schemeClr val="bg1"/>
                </a:solidFill>
              </a:rPr>
              <a:t>       </a:t>
            </a:r>
            <a:r>
              <a:rPr lang="vi-VN" sz="2000" b="1" dirty="0" err="1">
                <a:solidFill>
                  <a:schemeClr val="bg1"/>
                </a:solidFill>
              </a:rPr>
              <a:t>lý</a:t>
            </a:r>
            <a:r>
              <a:rPr lang="vi-VN" sz="2000" b="1" dirty="0">
                <a:solidFill>
                  <a:schemeClr val="bg1"/>
                </a:solidFill>
              </a:rPr>
              <a:t> đơn </a:t>
            </a:r>
            <a:r>
              <a:rPr lang="vi-VN" sz="2000" b="1" dirty="0" err="1">
                <a:solidFill>
                  <a:schemeClr val="bg1"/>
                </a:solidFill>
              </a:rPr>
              <a:t>hàng,tìm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kiếm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sản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phẩm</a:t>
            </a:r>
            <a:r>
              <a:rPr lang="vi-VN" sz="2000" b="1" dirty="0">
                <a:solidFill>
                  <a:schemeClr val="bg1"/>
                </a:solidFill>
              </a:rPr>
              <a:t>,..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vi-VN" sz="2000" b="1" dirty="0" err="1">
                <a:solidFill>
                  <a:schemeClr val="bg1"/>
                </a:solidFill>
              </a:rPr>
              <a:t>Các</a:t>
            </a:r>
            <a:r>
              <a:rPr lang="vi-VN" sz="2000" b="1" dirty="0">
                <a:solidFill>
                  <a:schemeClr val="bg1"/>
                </a:solidFill>
              </a:rPr>
              <a:t> thông tin </a:t>
            </a:r>
            <a:r>
              <a:rPr lang="vi-VN" sz="2000" b="1" dirty="0" err="1">
                <a:solidFill>
                  <a:schemeClr val="bg1"/>
                </a:solidFill>
              </a:rPr>
              <a:t>được</a:t>
            </a:r>
            <a:r>
              <a:rPr lang="vi-VN" sz="2000" b="1" dirty="0">
                <a:solidFill>
                  <a:schemeClr val="bg1"/>
                </a:solidFill>
              </a:rPr>
              <a:t> lưu </a:t>
            </a:r>
            <a:r>
              <a:rPr lang="vi-VN" sz="2000" b="1" dirty="0" err="1">
                <a:solidFill>
                  <a:schemeClr val="bg1"/>
                </a:solidFill>
              </a:rPr>
              <a:t>trữ</a:t>
            </a:r>
            <a:r>
              <a:rPr lang="vi-VN" sz="2000" b="1" dirty="0">
                <a:solidFill>
                  <a:schemeClr val="bg1"/>
                </a:solidFill>
              </a:rPr>
              <a:t> khoa </a:t>
            </a:r>
            <a:r>
              <a:rPr lang="vi-VN" sz="2000" b="1" dirty="0" err="1">
                <a:solidFill>
                  <a:schemeClr val="bg1"/>
                </a:solidFill>
              </a:rPr>
              <a:t>học</a:t>
            </a:r>
            <a:r>
              <a:rPr lang="vi-VN" sz="2000" b="1" dirty="0">
                <a:solidFill>
                  <a:schemeClr val="bg1"/>
                </a:solidFill>
              </a:rPr>
              <a:t> ,</a:t>
            </a:r>
            <a:r>
              <a:rPr lang="vi-VN" sz="2000" b="1" dirty="0" err="1">
                <a:solidFill>
                  <a:schemeClr val="bg1"/>
                </a:solidFill>
              </a:rPr>
              <a:t>xử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lý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một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cách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dễ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dàng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chính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xác</a:t>
            </a:r>
            <a:endParaRPr lang="vi-VN" sz="2000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 startAt="3"/>
            </a:pPr>
            <a:r>
              <a:rPr lang="vi-VN" sz="2000" b="1" dirty="0" err="1">
                <a:solidFill>
                  <a:schemeClr val="bg1"/>
                </a:solidFill>
              </a:rPr>
              <a:t>Các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vùng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nhậ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liệu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được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kiểm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soát</a:t>
            </a:r>
            <a:r>
              <a:rPr lang="vi-VN" sz="2000" b="1" dirty="0">
                <a:solidFill>
                  <a:schemeClr val="bg1"/>
                </a:solidFill>
              </a:rPr>
              <a:t> ,</a:t>
            </a:r>
            <a:r>
              <a:rPr lang="vi-VN" sz="2000" b="1" dirty="0" err="1">
                <a:solidFill>
                  <a:schemeClr val="bg1"/>
                </a:solidFill>
              </a:rPr>
              <a:t>tránh</a:t>
            </a:r>
            <a:r>
              <a:rPr lang="vi-VN" sz="2000" b="1" dirty="0">
                <a:solidFill>
                  <a:schemeClr val="bg1"/>
                </a:solidFill>
              </a:rPr>
              <a:t> sai </a:t>
            </a:r>
            <a:r>
              <a:rPr lang="vi-VN" sz="2000" b="1" dirty="0" err="1">
                <a:solidFill>
                  <a:schemeClr val="bg1"/>
                </a:solidFill>
              </a:rPr>
              <a:t>sót</a:t>
            </a:r>
            <a:endParaRPr lang="vi-VN" sz="2000" b="1" dirty="0">
              <a:solidFill>
                <a:schemeClr val="bg1"/>
              </a:solidFill>
            </a:endParaRPr>
          </a:p>
          <a:p>
            <a:r>
              <a:rPr lang="vi-VN" sz="2000" b="1" dirty="0">
                <a:solidFill>
                  <a:schemeClr val="bg1"/>
                </a:solidFill>
              </a:rPr>
              <a:t>       thông tin trong </a:t>
            </a:r>
            <a:r>
              <a:rPr lang="vi-VN" sz="2000" b="1" dirty="0" err="1">
                <a:solidFill>
                  <a:schemeClr val="bg1"/>
                </a:solidFill>
              </a:rPr>
              <a:t>quá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rình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nhậ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liệu</a:t>
            </a:r>
            <a:endParaRPr lang="vi-VN" sz="2000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 startAt="5"/>
            </a:pPr>
            <a:r>
              <a:rPr lang="vi-VN" sz="2000" b="1" dirty="0" err="1">
                <a:solidFill>
                  <a:schemeClr val="bg1"/>
                </a:solidFill>
              </a:rPr>
              <a:t>Hỗ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rợ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đặt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hàng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rực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tuyến</a:t>
            </a:r>
            <a:endParaRPr lang="vi-VN" sz="2000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 startAt="5"/>
            </a:pPr>
            <a:r>
              <a:rPr lang="vi-VN" sz="2000" b="1" dirty="0">
                <a:solidFill>
                  <a:schemeClr val="bg1"/>
                </a:solidFill>
              </a:rPr>
              <a:t>Thêm </a:t>
            </a:r>
            <a:r>
              <a:rPr lang="vi-VN" sz="2000" b="1" dirty="0" err="1">
                <a:solidFill>
                  <a:schemeClr val="bg1"/>
                </a:solidFill>
              </a:rPr>
              <a:t>thành</a:t>
            </a:r>
            <a:r>
              <a:rPr lang="vi-VN" sz="2000" b="1" dirty="0">
                <a:solidFill>
                  <a:schemeClr val="bg1"/>
                </a:solidFill>
              </a:rPr>
              <a:t> viên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vi-VN" sz="2000" b="1" dirty="0">
                <a:solidFill>
                  <a:schemeClr val="bg1"/>
                </a:solidFill>
              </a:rPr>
              <a:t>Đăng </a:t>
            </a:r>
            <a:r>
              <a:rPr lang="vi-VN" sz="2000" b="1" dirty="0" err="1">
                <a:solidFill>
                  <a:schemeClr val="bg1"/>
                </a:solidFill>
              </a:rPr>
              <a:t>nhập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của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khách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hàng</a:t>
            </a:r>
            <a:r>
              <a:rPr lang="vi-VN" sz="2000" b="1" dirty="0">
                <a:solidFill>
                  <a:schemeClr val="bg1"/>
                </a:solidFill>
              </a:rPr>
              <a:t> , nhân viên </a:t>
            </a:r>
            <a:r>
              <a:rPr lang="vi-VN" sz="2000" b="1" dirty="0" err="1">
                <a:solidFill>
                  <a:schemeClr val="bg1"/>
                </a:solidFill>
              </a:rPr>
              <a:t>và</a:t>
            </a:r>
            <a:r>
              <a:rPr lang="vi-VN" sz="2000" b="1" dirty="0">
                <a:solidFill>
                  <a:schemeClr val="bg1"/>
                </a:solidFill>
              </a:rPr>
              <a:t> </a:t>
            </a:r>
            <a:r>
              <a:rPr lang="vi-VN" sz="2000" b="1" dirty="0" err="1">
                <a:solidFill>
                  <a:schemeClr val="bg1"/>
                </a:solidFill>
              </a:rPr>
              <a:t>admin</a:t>
            </a:r>
            <a:endParaRPr kumimoji="0" lang="en-ID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72">
            <a:hlinkClick r:id="rId12"/>
            <a:extLst>
              <a:ext uri="{FF2B5EF4-FFF2-40B4-BE49-F238E27FC236}">
                <a16:creationId xmlns:a16="http://schemas.microsoft.com/office/drawing/2014/main" id="{279C4F20-3921-4550-84CB-1FBA34823D76}"/>
              </a:ext>
            </a:extLst>
          </p:cNvPr>
          <p:cNvSpPr txBox="1"/>
          <p:nvPr/>
        </p:nvSpPr>
        <p:spPr>
          <a:xfrm>
            <a:off x="1525542" y="107976"/>
            <a:ext cx="6134655" cy="56263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000" b="1" i="0" u="none" strike="noStrike" kern="1200" cap="none" spc="0" normalizeH="0" baseline="0" noProof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ỔNG KẾT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F6FC6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16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47" t="9748" r="23853" b="5877"/>
          <a:stretch/>
        </p:blipFill>
        <p:spPr>
          <a:xfrm>
            <a:off x="316523" y="1"/>
            <a:ext cx="11649808" cy="6857999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85D1319-7BD4-47DE-B3DF-55B655BB34C4}"/>
              </a:ext>
            </a:extLst>
          </p:cNvPr>
          <p:cNvSpPr/>
          <p:nvPr/>
        </p:nvSpPr>
        <p:spPr>
          <a:xfrm rot="18900000">
            <a:off x="4167699" y="1500699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443963" y="2274840"/>
            <a:ext cx="3304076" cy="23083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  <a:latin typeface="+mj-lt"/>
              </a:rPr>
              <a:t>THANK YOU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3681074" y="4409266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DED9FB-5603-488F-827B-05F43B91C25A}"/>
              </a:ext>
            </a:extLst>
          </p:cNvPr>
          <p:cNvSpPr/>
          <p:nvPr/>
        </p:nvSpPr>
        <p:spPr>
          <a:xfrm rot="18900000">
            <a:off x="5424287" y="621132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AA70618-CDC0-4C13-8EE9-54ABCDECF7CC}"/>
              </a:ext>
            </a:extLst>
          </p:cNvPr>
          <p:cNvSpPr/>
          <p:nvPr/>
        </p:nvSpPr>
        <p:spPr>
          <a:xfrm>
            <a:off x="6699988" y="5809950"/>
            <a:ext cx="2096100" cy="1048050"/>
          </a:xfrm>
          <a:custGeom>
            <a:avLst/>
            <a:gdLst>
              <a:gd name="connsiteX0" fmla="*/ 1048050 w 2096100"/>
              <a:gd name="connsiteY0" fmla="*/ 0 h 1048050"/>
              <a:gd name="connsiteX1" fmla="*/ 1172234 w 2096100"/>
              <a:gd name="connsiteY1" fmla="*/ 51439 h 1048050"/>
              <a:gd name="connsiteX2" fmla="*/ 2044661 w 2096100"/>
              <a:gd name="connsiteY2" fmla="*/ 923866 h 1048050"/>
              <a:gd name="connsiteX3" fmla="*/ 2096100 w 2096100"/>
              <a:gd name="connsiteY3" fmla="*/ 1048050 h 1048050"/>
              <a:gd name="connsiteX4" fmla="*/ 0 w 2096100"/>
              <a:gd name="connsiteY4" fmla="*/ 1048050 h 1048050"/>
              <a:gd name="connsiteX5" fmla="*/ 51439 w 2096100"/>
              <a:gd name="connsiteY5" fmla="*/ 923866 h 1048050"/>
              <a:gd name="connsiteX6" fmla="*/ 923866 w 2096100"/>
              <a:gd name="connsiteY6" fmla="*/ 51439 h 1048050"/>
              <a:gd name="connsiteX7" fmla="*/ 1048050 w 2096100"/>
              <a:gd name="connsiteY7" fmla="*/ 0 h 10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6100" h="1048050">
                <a:moveTo>
                  <a:pt x="1048050" y="0"/>
                </a:moveTo>
                <a:cubicBezTo>
                  <a:pt x="1092996" y="0"/>
                  <a:pt x="1137942" y="17146"/>
                  <a:pt x="1172234" y="51439"/>
                </a:cubicBezTo>
                <a:lnTo>
                  <a:pt x="2044661" y="923866"/>
                </a:lnTo>
                <a:cubicBezTo>
                  <a:pt x="2078954" y="958158"/>
                  <a:pt x="2096100" y="1003104"/>
                  <a:pt x="2096100" y="1048050"/>
                </a:cubicBezTo>
                <a:lnTo>
                  <a:pt x="0" y="1048050"/>
                </a:lnTo>
                <a:cubicBezTo>
                  <a:pt x="0" y="1003104"/>
                  <a:pt x="17147" y="958158"/>
                  <a:pt x="51439" y="923866"/>
                </a:cubicBezTo>
                <a:lnTo>
                  <a:pt x="923866" y="51439"/>
                </a:lnTo>
                <a:cubicBezTo>
                  <a:pt x="958159" y="17146"/>
                  <a:pt x="1003104" y="0"/>
                  <a:pt x="1048050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Google Shape;313;p35">
            <a:extLst>
              <a:ext uri="{FF2B5EF4-FFF2-40B4-BE49-F238E27FC236}">
                <a16:creationId xmlns:a16="http://schemas.microsoft.com/office/drawing/2014/main" id="{8292425D-1334-4E01-AB7D-50604DC3C6D5}"/>
              </a:ext>
            </a:extLst>
          </p:cNvPr>
          <p:cNvSpPr txBox="1">
            <a:spLocks/>
          </p:cNvSpPr>
          <p:nvPr/>
        </p:nvSpPr>
        <p:spPr>
          <a:xfrm>
            <a:off x="524700" y="4643097"/>
            <a:ext cx="5571300" cy="2557800"/>
          </a:xfrm>
          <a:prstGeom prst="rect">
            <a:avLst/>
          </a:prstGeom>
          <a:noFill/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bg1"/>
                </a:solidFill>
              </a:rPr>
              <a:t>Any questions?</a:t>
            </a:r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2400" dirty="0">
                <a:solidFill>
                  <a:schemeClr val="bg1"/>
                </a:solidFill>
              </a:rPr>
              <a:t>You can find me at</a:t>
            </a:r>
          </a:p>
          <a:p>
            <a:pPr marL="457200" indent="-381000">
              <a:buSzPts val="2400"/>
              <a:buFont typeface="Arial" panose="020B0604020202020204" pitchFamily="34" charset="0"/>
              <a:buChar char="▸"/>
            </a:pPr>
            <a:r>
              <a:rPr lang="en-US" sz="2400" dirty="0">
                <a:solidFill>
                  <a:schemeClr val="bg1"/>
                </a:solidFill>
              </a:rPr>
              <a:t>kaidang84@gmail.com</a:t>
            </a:r>
          </a:p>
          <a:p>
            <a:pPr marL="457200" indent="-381000">
              <a:spcBef>
                <a:spcPts val="0"/>
              </a:spcBef>
              <a:buSzPts val="2400"/>
              <a:buFont typeface="Arial" panose="020B0604020202020204" pitchFamily="34" charset="0"/>
              <a:buChar char="▸"/>
            </a:pPr>
            <a:r>
              <a:rPr lang="en-US" sz="2400" dirty="0">
                <a:solidFill>
                  <a:schemeClr val="bg1"/>
                </a:solidFill>
              </a:rPr>
              <a:t>levanthongqn35@mail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1632F1-284C-4B2D-B24D-166F879138C2}"/>
              </a:ext>
            </a:extLst>
          </p:cNvPr>
          <p:cNvSpPr txBox="1"/>
          <p:nvPr/>
        </p:nvSpPr>
        <p:spPr>
          <a:xfrm rot="1758112">
            <a:off x="7413852" y="1851645"/>
            <a:ext cx="1103486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900" dirty="0">
                <a:solidFill>
                  <a:schemeClr val="bg1"/>
                </a:solidFill>
              </a:rPr>
              <a:t>!</a:t>
            </a:r>
            <a:endParaRPr lang="vi-VN" sz="199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E061612-367A-4C62-BB99-4575D5AAE0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5866752" y="938168"/>
            <a:ext cx="458495" cy="436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76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47" t="9748" r="23853" b="5877"/>
          <a:stretch/>
        </p:blipFill>
        <p:spPr>
          <a:xfrm>
            <a:off x="316523" y="1"/>
            <a:ext cx="11649808" cy="6857999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85D1319-7BD4-47DE-B3DF-55B655BB34C4}"/>
              </a:ext>
            </a:extLst>
          </p:cNvPr>
          <p:cNvSpPr/>
          <p:nvPr/>
        </p:nvSpPr>
        <p:spPr>
          <a:xfrm rot="18900000">
            <a:off x="4218889" y="37140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589834" y="2554133"/>
            <a:ext cx="3304076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  <a:latin typeface="+mj-lt"/>
              </a:rPr>
              <a:t>DEMO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3681074" y="4409266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DED9FB-5603-488F-827B-05F43B91C25A}"/>
              </a:ext>
            </a:extLst>
          </p:cNvPr>
          <p:cNvSpPr/>
          <p:nvPr/>
        </p:nvSpPr>
        <p:spPr>
          <a:xfrm rot="18900000">
            <a:off x="2291446" y="2482583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AA70618-CDC0-4C13-8EE9-54ABCDECF7CC}"/>
              </a:ext>
            </a:extLst>
          </p:cNvPr>
          <p:cNvSpPr/>
          <p:nvPr/>
        </p:nvSpPr>
        <p:spPr>
          <a:xfrm>
            <a:off x="6699988" y="5809950"/>
            <a:ext cx="2096100" cy="1048050"/>
          </a:xfrm>
          <a:custGeom>
            <a:avLst/>
            <a:gdLst>
              <a:gd name="connsiteX0" fmla="*/ 1048050 w 2096100"/>
              <a:gd name="connsiteY0" fmla="*/ 0 h 1048050"/>
              <a:gd name="connsiteX1" fmla="*/ 1172234 w 2096100"/>
              <a:gd name="connsiteY1" fmla="*/ 51439 h 1048050"/>
              <a:gd name="connsiteX2" fmla="*/ 2044661 w 2096100"/>
              <a:gd name="connsiteY2" fmla="*/ 923866 h 1048050"/>
              <a:gd name="connsiteX3" fmla="*/ 2096100 w 2096100"/>
              <a:gd name="connsiteY3" fmla="*/ 1048050 h 1048050"/>
              <a:gd name="connsiteX4" fmla="*/ 0 w 2096100"/>
              <a:gd name="connsiteY4" fmla="*/ 1048050 h 1048050"/>
              <a:gd name="connsiteX5" fmla="*/ 51439 w 2096100"/>
              <a:gd name="connsiteY5" fmla="*/ 923866 h 1048050"/>
              <a:gd name="connsiteX6" fmla="*/ 923866 w 2096100"/>
              <a:gd name="connsiteY6" fmla="*/ 51439 h 1048050"/>
              <a:gd name="connsiteX7" fmla="*/ 1048050 w 2096100"/>
              <a:gd name="connsiteY7" fmla="*/ 0 h 10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6100" h="1048050">
                <a:moveTo>
                  <a:pt x="1048050" y="0"/>
                </a:moveTo>
                <a:cubicBezTo>
                  <a:pt x="1092996" y="0"/>
                  <a:pt x="1137942" y="17146"/>
                  <a:pt x="1172234" y="51439"/>
                </a:cubicBezTo>
                <a:lnTo>
                  <a:pt x="2044661" y="923866"/>
                </a:lnTo>
                <a:cubicBezTo>
                  <a:pt x="2078954" y="958158"/>
                  <a:pt x="2096100" y="1003104"/>
                  <a:pt x="2096100" y="1048050"/>
                </a:cubicBezTo>
                <a:lnTo>
                  <a:pt x="0" y="1048050"/>
                </a:lnTo>
                <a:cubicBezTo>
                  <a:pt x="0" y="1003104"/>
                  <a:pt x="17147" y="958158"/>
                  <a:pt x="51439" y="923866"/>
                </a:cubicBezTo>
                <a:lnTo>
                  <a:pt x="923866" y="51439"/>
                </a:lnTo>
                <a:cubicBezTo>
                  <a:pt x="958159" y="17146"/>
                  <a:pt x="1003104" y="0"/>
                  <a:pt x="1048050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7D4465B-5F4E-4A01-8061-FE96B6D4C826}"/>
              </a:ext>
            </a:extLst>
          </p:cNvPr>
          <p:cNvSpPr/>
          <p:nvPr/>
        </p:nvSpPr>
        <p:spPr>
          <a:xfrm rot="18900000">
            <a:off x="4167698" y="2152691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BB6CCAF-B607-495B-A369-414FDF138A01}"/>
              </a:ext>
            </a:extLst>
          </p:cNvPr>
          <p:cNvSpPr/>
          <p:nvPr/>
        </p:nvSpPr>
        <p:spPr>
          <a:xfrm rot="18900000">
            <a:off x="1610373" y="2556715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5F13EC9-E11E-4B88-AE69-3FDD17F402DF}"/>
              </a:ext>
            </a:extLst>
          </p:cNvPr>
          <p:cNvSpPr/>
          <p:nvPr/>
        </p:nvSpPr>
        <p:spPr>
          <a:xfrm rot="18900000">
            <a:off x="9292785" y="2507303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C863823-A232-436D-9900-F605A39AE7EF}"/>
              </a:ext>
            </a:extLst>
          </p:cNvPr>
          <p:cNvSpPr/>
          <p:nvPr/>
        </p:nvSpPr>
        <p:spPr>
          <a:xfrm rot="18900000">
            <a:off x="8611712" y="2581435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262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BD90C54-A1D0-46AE-811A-7FCD71C84EA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85" b="28503"/>
          <a:stretch/>
        </p:blipFill>
        <p:spPr>
          <a:xfrm>
            <a:off x="6089" y="1295400"/>
            <a:ext cx="12179822" cy="51054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0653043-9706-4A8F-99E2-518CA3BA8540}"/>
              </a:ext>
            </a:extLst>
          </p:cNvPr>
          <p:cNvSpPr/>
          <p:nvPr/>
        </p:nvSpPr>
        <p:spPr>
          <a:xfrm>
            <a:off x="0" y="1295400"/>
            <a:ext cx="12192000" cy="51054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189828-C3DA-4597-BCE6-9ABD37A41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4057" y="567533"/>
            <a:ext cx="419100" cy="365125"/>
          </a:xfrm>
        </p:spPr>
        <p:txBody>
          <a:bodyPr/>
          <a:lstStyle/>
          <a:p>
            <a:fld id="{0FD50806-BABF-4915-9689-3B9956D1C75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4ED3DF7-870D-4095-B720-456252545CFA}"/>
              </a:ext>
            </a:extLst>
          </p:cNvPr>
          <p:cNvSpPr/>
          <p:nvPr/>
        </p:nvSpPr>
        <p:spPr>
          <a:xfrm>
            <a:off x="3869988" y="1690904"/>
            <a:ext cx="3683936" cy="3683936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12F29F0-E19B-43BF-BEF3-D4A48B394F58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558C64-5F19-44FD-B6CB-6995E80A6FA2}"/>
              </a:ext>
            </a:extLst>
          </p:cNvPr>
          <p:cNvGrpSpPr/>
          <p:nvPr/>
        </p:nvGrpSpPr>
        <p:grpSpPr>
          <a:xfrm>
            <a:off x="6315256" y="1699281"/>
            <a:ext cx="4887902" cy="4605002"/>
            <a:chOff x="631829" y="3155370"/>
            <a:chExt cx="3458504" cy="2786775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03C21F7-6F42-4001-9105-1392AB928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883" y="5538847"/>
              <a:ext cx="1174880" cy="372175"/>
            </a:xfrm>
            <a:custGeom>
              <a:avLst/>
              <a:gdLst>
                <a:gd name="T0" fmla="*/ 3037 w 3628"/>
                <a:gd name="T1" fmla="*/ 0 h 1149"/>
                <a:gd name="T2" fmla="*/ 1837 w 3628"/>
                <a:gd name="T3" fmla="*/ 0 h 1149"/>
                <a:gd name="T4" fmla="*/ 1792 w 3628"/>
                <a:gd name="T5" fmla="*/ 0 h 1149"/>
                <a:gd name="T6" fmla="*/ 591 w 3628"/>
                <a:gd name="T7" fmla="*/ 0 h 1149"/>
                <a:gd name="T8" fmla="*/ 592 w 3628"/>
                <a:gd name="T9" fmla="*/ 108 h 1149"/>
                <a:gd name="T10" fmla="*/ 594 w 3628"/>
                <a:gd name="T11" fmla="*/ 214 h 1149"/>
                <a:gd name="T12" fmla="*/ 598 w 3628"/>
                <a:gd name="T13" fmla="*/ 317 h 1149"/>
                <a:gd name="T14" fmla="*/ 600 w 3628"/>
                <a:gd name="T15" fmla="*/ 419 h 1149"/>
                <a:gd name="T16" fmla="*/ 600 w 3628"/>
                <a:gd name="T17" fmla="*/ 468 h 1149"/>
                <a:gd name="T18" fmla="*/ 599 w 3628"/>
                <a:gd name="T19" fmla="*/ 516 h 1149"/>
                <a:gd name="T20" fmla="*/ 597 w 3628"/>
                <a:gd name="T21" fmla="*/ 564 h 1149"/>
                <a:gd name="T22" fmla="*/ 594 w 3628"/>
                <a:gd name="T23" fmla="*/ 610 h 1149"/>
                <a:gd name="T24" fmla="*/ 590 w 3628"/>
                <a:gd name="T25" fmla="*/ 654 h 1149"/>
                <a:gd name="T26" fmla="*/ 584 w 3628"/>
                <a:gd name="T27" fmla="*/ 698 h 1149"/>
                <a:gd name="T28" fmla="*/ 576 w 3628"/>
                <a:gd name="T29" fmla="*/ 740 h 1149"/>
                <a:gd name="T30" fmla="*/ 567 w 3628"/>
                <a:gd name="T31" fmla="*/ 780 h 1149"/>
                <a:gd name="T32" fmla="*/ 554 w 3628"/>
                <a:gd name="T33" fmla="*/ 820 h 1149"/>
                <a:gd name="T34" fmla="*/ 540 w 3628"/>
                <a:gd name="T35" fmla="*/ 857 h 1149"/>
                <a:gd name="T36" fmla="*/ 524 w 3628"/>
                <a:gd name="T37" fmla="*/ 892 h 1149"/>
                <a:gd name="T38" fmla="*/ 504 w 3628"/>
                <a:gd name="T39" fmla="*/ 925 h 1149"/>
                <a:gd name="T40" fmla="*/ 482 w 3628"/>
                <a:gd name="T41" fmla="*/ 958 h 1149"/>
                <a:gd name="T42" fmla="*/ 458 w 3628"/>
                <a:gd name="T43" fmla="*/ 986 h 1149"/>
                <a:gd name="T44" fmla="*/ 429 w 3628"/>
                <a:gd name="T45" fmla="*/ 1014 h 1149"/>
                <a:gd name="T46" fmla="*/ 398 w 3628"/>
                <a:gd name="T47" fmla="*/ 1039 h 1149"/>
                <a:gd name="T48" fmla="*/ 363 w 3628"/>
                <a:gd name="T49" fmla="*/ 1062 h 1149"/>
                <a:gd name="T50" fmla="*/ 323 w 3628"/>
                <a:gd name="T51" fmla="*/ 1081 h 1149"/>
                <a:gd name="T52" fmla="*/ 281 w 3628"/>
                <a:gd name="T53" fmla="*/ 1100 h 1149"/>
                <a:gd name="T54" fmla="*/ 233 w 3628"/>
                <a:gd name="T55" fmla="*/ 1115 h 1149"/>
                <a:gd name="T56" fmla="*/ 182 w 3628"/>
                <a:gd name="T57" fmla="*/ 1128 h 1149"/>
                <a:gd name="T58" fmla="*/ 127 w 3628"/>
                <a:gd name="T59" fmla="*/ 1137 h 1149"/>
                <a:gd name="T60" fmla="*/ 66 w 3628"/>
                <a:gd name="T61" fmla="*/ 1144 h 1149"/>
                <a:gd name="T62" fmla="*/ 0 w 3628"/>
                <a:gd name="T63" fmla="*/ 1149 h 1149"/>
                <a:gd name="T64" fmla="*/ 1792 w 3628"/>
                <a:gd name="T65" fmla="*/ 1149 h 1149"/>
                <a:gd name="T66" fmla="*/ 1837 w 3628"/>
                <a:gd name="T67" fmla="*/ 1149 h 1149"/>
                <a:gd name="T68" fmla="*/ 3628 w 3628"/>
                <a:gd name="T69" fmla="*/ 1149 h 1149"/>
                <a:gd name="T70" fmla="*/ 3563 w 3628"/>
                <a:gd name="T71" fmla="*/ 1144 h 1149"/>
                <a:gd name="T72" fmla="*/ 3503 w 3628"/>
                <a:gd name="T73" fmla="*/ 1137 h 1149"/>
                <a:gd name="T74" fmla="*/ 3446 w 3628"/>
                <a:gd name="T75" fmla="*/ 1128 h 1149"/>
                <a:gd name="T76" fmla="*/ 3395 w 3628"/>
                <a:gd name="T77" fmla="*/ 1115 h 1149"/>
                <a:gd name="T78" fmla="*/ 3349 w 3628"/>
                <a:gd name="T79" fmla="*/ 1100 h 1149"/>
                <a:gd name="T80" fmla="*/ 3306 w 3628"/>
                <a:gd name="T81" fmla="*/ 1081 h 1149"/>
                <a:gd name="T82" fmla="*/ 3266 w 3628"/>
                <a:gd name="T83" fmla="*/ 1062 h 1149"/>
                <a:gd name="T84" fmla="*/ 3231 w 3628"/>
                <a:gd name="T85" fmla="*/ 1039 h 1149"/>
                <a:gd name="T86" fmla="*/ 3199 w 3628"/>
                <a:gd name="T87" fmla="*/ 1014 h 1149"/>
                <a:gd name="T88" fmla="*/ 3172 w 3628"/>
                <a:gd name="T89" fmla="*/ 986 h 1149"/>
                <a:gd name="T90" fmla="*/ 3146 w 3628"/>
                <a:gd name="T91" fmla="*/ 958 h 1149"/>
                <a:gd name="T92" fmla="*/ 3124 w 3628"/>
                <a:gd name="T93" fmla="*/ 925 h 1149"/>
                <a:gd name="T94" fmla="*/ 3104 w 3628"/>
                <a:gd name="T95" fmla="*/ 892 h 1149"/>
                <a:gd name="T96" fmla="*/ 3088 w 3628"/>
                <a:gd name="T97" fmla="*/ 857 h 1149"/>
                <a:gd name="T98" fmla="*/ 3074 w 3628"/>
                <a:gd name="T99" fmla="*/ 820 h 1149"/>
                <a:gd name="T100" fmla="*/ 3063 w 3628"/>
                <a:gd name="T101" fmla="*/ 780 h 1149"/>
                <a:gd name="T102" fmla="*/ 3053 w 3628"/>
                <a:gd name="T103" fmla="*/ 740 h 1149"/>
                <a:gd name="T104" fmla="*/ 3045 w 3628"/>
                <a:gd name="T105" fmla="*/ 698 h 1149"/>
                <a:gd name="T106" fmla="*/ 3040 w 3628"/>
                <a:gd name="T107" fmla="*/ 654 h 1149"/>
                <a:gd name="T108" fmla="*/ 3035 w 3628"/>
                <a:gd name="T109" fmla="*/ 610 h 1149"/>
                <a:gd name="T110" fmla="*/ 3031 w 3628"/>
                <a:gd name="T111" fmla="*/ 564 h 1149"/>
                <a:gd name="T112" fmla="*/ 3030 w 3628"/>
                <a:gd name="T113" fmla="*/ 516 h 1149"/>
                <a:gd name="T114" fmla="*/ 3029 w 3628"/>
                <a:gd name="T115" fmla="*/ 468 h 1149"/>
                <a:gd name="T116" fmla="*/ 3029 w 3628"/>
                <a:gd name="T117" fmla="*/ 419 h 1149"/>
                <a:gd name="T118" fmla="*/ 3030 w 3628"/>
                <a:gd name="T119" fmla="*/ 317 h 1149"/>
                <a:gd name="T120" fmla="*/ 3034 w 3628"/>
                <a:gd name="T121" fmla="*/ 214 h 1149"/>
                <a:gd name="T122" fmla="*/ 3036 w 3628"/>
                <a:gd name="T123" fmla="*/ 108 h 1149"/>
                <a:gd name="T124" fmla="*/ 3037 w 3628"/>
                <a:gd name="T1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8" h="1149">
                  <a:moveTo>
                    <a:pt x="3037" y="0"/>
                  </a:moveTo>
                  <a:lnTo>
                    <a:pt x="1837" y="0"/>
                  </a:lnTo>
                  <a:lnTo>
                    <a:pt x="1792" y="0"/>
                  </a:lnTo>
                  <a:lnTo>
                    <a:pt x="591" y="0"/>
                  </a:lnTo>
                  <a:lnTo>
                    <a:pt x="592" y="108"/>
                  </a:lnTo>
                  <a:lnTo>
                    <a:pt x="594" y="214"/>
                  </a:lnTo>
                  <a:lnTo>
                    <a:pt x="598" y="317"/>
                  </a:lnTo>
                  <a:lnTo>
                    <a:pt x="600" y="419"/>
                  </a:lnTo>
                  <a:lnTo>
                    <a:pt x="600" y="468"/>
                  </a:lnTo>
                  <a:lnTo>
                    <a:pt x="599" y="516"/>
                  </a:lnTo>
                  <a:lnTo>
                    <a:pt x="597" y="564"/>
                  </a:lnTo>
                  <a:lnTo>
                    <a:pt x="594" y="610"/>
                  </a:lnTo>
                  <a:lnTo>
                    <a:pt x="590" y="654"/>
                  </a:lnTo>
                  <a:lnTo>
                    <a:pt x="584" y="698"/>
                  </a:lnTo>
                  <a:lnTo>
                    <a:pt x="576" y="740"/>
                  </a:lnTo>
                  <a:lnTo>
                    <a:pt x="567" y="780"/>
                  </a:lnTo>
                  <a:lnTo>
                    <a:pt x="554" y="820"/>
                  </a:lnTo>
                  <a:lnTo>
                    <a:pt x="540" y="857"/>
                  </a:lnTo>
                  <a:lnTo>
                    <a:pt x="524" y="892"/>
                  </a:lnTo>
                  <a:lnTo>
                    <a:pt x="504" y="925"/>
                  </a:lnTo>
                  <a:lnTo>
                    <a:pt x="482" y="958"/>
                  </a:lnTo>
                  <a:lnTo>
                    <a:pt x="458" y="986"/>
                  </a:lnTo>
                  <a:lnTo>
                    <a:pt x="429" y="1014"/>
                  </a:lnTo>
                  <a:lnTo>
                    <a:pt x="398" y="1039"/>
                  </a:lnTo>
                  <a:lnTo>
                    <a:pt x="363" y="1062"/>
                  </a:lnTo>
                  <a:lnTo>
                    <a:pt x="323" y="1081"/>
                  </a:lnTo>
                  <a:lnTo>
                    <a:pt x="281" y="1100"/>
                  </a:lnTo>
                  <a:lnTo>
                    <a:pt x="233" y="1115"/>
                  </a:lnTo>
                  <a:lnTo>
                    <a:pt x="182" y="1128"/>
                  </a:lnTo>
                  <a:lnTo>
                    <a:pt x="127" y="1137"/>
                  </a:lnTo>
                  <a:lnTo>
                    <a:pt x="66" y="1144"/>
                  </a:lnTo>
                  <a:lnTo>
                    <a:pt x="0" y="1149"/>
                  </a:lnTo>
                  <a:lnTo>
                    <a:pt x="1792" y="1149"/>
                  </a:lnTo>
                  <a:lnTo>
                    <a:pt x="1837" y="1149"/>
                  </a:lnTo>
                  <a:lnTo>
                    <a:pt x="3628" y="1149"/>
                  </a:lnTo>
                  <a:lnTo>
                    <a:pt x="3563" y="1144"/>
                  </a:lnTo>
                  <a:lnTo>
                    <a:pt x="3503" y="1137"/>
                  </a:lnTo>
                  <a:lnTo>
                    <a:pt x="3446" y="1128"/>
                  </a:lnTo>
                  <a:lnTo>
                    <a:pt x="3395" y="1115"/>
                  </a:lnTo>
                  <a:lnTo>
                    <a:pt x="3349" y="1100"/>
                  </a:lnTo>
                  <a:lnTo>
                    <a:pt x="3306" y="1081"/>
                  </a:lnTo>
                  <a:lnTo>
                    <a:pt x="3266" y="1062"/>
                  </a:lnTo>
                  <a:lnTo>
                    <a:pt x="3231" y="1039"/>
                  </a:lnTo>
                  <a:lnTo>
                    <a:pt x="3199" y="1014"/>
                  </a:lnTo>
                  <a:lnTo>
                    <a:pt x="3172" y="986"/>
                  </a:lnTo>
                  <a:lnTo>
                    <a:pt x="3146" y="958"/>
                  </a:lnTo>
                  <a:lnTo>
                    <a:pt x="3124" y="925"/>
                  </a:lnTo>
                  <a:lnTo>
                    <a:pt x="3104" y="892"/>
                  </a:lnTo>
                  <a:lnTo>
                    <a:pt x="3088" y="857"/>
                  </a:lnTo>
                  <a:lnTo>
                    <a:pt x="3074" y="820"/>
                  </a:lnTo>
                  <a:lnTo>
                    <a:pt x="3063" y="780"/>
                  </a:lnTo>
                  <a:lnTo>
                    <a:pt x="3053" y="740"/>
                  </a:lnTo>
                  <a:lnTo>
                    <a:pt x="3045" y="698"/>
                  </a:lnTo>
                  <a:lnTo>
                    <a:pt x="3040" y="654"/>
                  </a:lnTo>
                  <a:lnTo>
                    <a:pt x="3035" y="610"/>
                  </a:lnTo>
                  <a:lnTo>
                    <a:pt x="3031" y="564"/>
                  </a:lnTo>
                  <a:lnTo>
                    <a:pt x="3030" y="516"/>
                  </a:lnTo>
                  <a:lnTo>
                    <a:pt x="3029" y="468"/>
                  </a:lnTo>
                  <a:lnTo>
                    <a:pt x="3029" y="419"/>
                  </a:lnTo>
                  <a:lnTo>
                    <a:pt x="3030" y="317"/>
                  </a:lnTo>
                  <a:lnTo>
                    <a:pt x="3034" y="214"/>
                  </a:lnTo>
                  <a:lnTo>
                    <a:pt x="3036" y="108"/>
                  </a:lnTo>
                  <a:lnTo>
                    <a:pt x="303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77000">
                  <a:schemeClr val="bg1">
                    <a:lumMod val="85000"/>
                  </a:schemeClr>
                </a:gs>
                <a:gs pos="37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BADD212-C9EC-4549-BFBC-540585A96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103" y="5908428"/>
              <a:ext cx="1190442" cy="33717"/>
            </a:xfrm>
            <a:custGeom>
              <a:avLst/>
              <a:gdLst>
                <a:gd name="T0" fmla="*/ 53 w 3673"/>
                <a:gd name="T1" fmla="*/ 0 h 105"/>
                <a:gd name="T2" fmla="*/ 3621 w 3673"/>
                <a:gd name="T3" fmla="*/ 0 h 105"/>
                <a:gd name="T4" fmla="*/ 3631 w 3673"/>
                <a:gd name="T5" fmla="*/ 2 h 105"/>
                <a:gd name="T6" fmla="*/ 3640 w 3673"/>
                <a:gd name="T7" fmla="*/ 5 h 105"/>
                <a:gd name="T8" fmla="*/ 3650 w 3673"/>
                <a:gd name="T9" fmla="*/ 10 h 105"/>
                <a:gd name="T10" fmla="*/ 3658 w 3673"/>
                <a:gd name="T11" fmla="*/ 15 h 105"/>
                <a:gd name="T12" fmla="*/ 3664 w 3673"/>
                <a:gd name="T13" fmla="*/ 24 h 105"/>
                <a:gd name="T14" fmla="*/ 3668 w 3673"/>
                <a:gd name="T15" fmla="*/ 33 h 105"/>
                <a:gd name="T16" fmla="*/ 3672 w 3673"/>
                <a:gd name="T17" fmla="*/ 42 h 105"/>
                <a:gd name="T18" fmla="*/ 3673 w 3673"/>
                <a:gd name="T19" fmla="*/ 53 h 105"/>
                <a:gd name="T20" fmla="*/ 3673 w 3673"/>
                <a:gd name="T21" fmla="*/ 53 h 105"/>
                <a:gd name="T22" fmla="*/ 3672 w 3673"/>
                <a:gd name="T23" fmla="*/ 63 h 105"/>
                <a:gd name="T24" fmla="*/ 3668 w 3673"/>
                <a:gd name="T25" fmla="*/ 73 h 105"/>
                <a:gd name="T26" fmla="*/ 3664 w 3673"/>
                <a:gd name="T27" fmla="*/ 81 h 105"/>
                <a:gd name="T28" fmla="*/ 3658 w 3673"/>
                <a:gd name="T29" fmla="*/ 90 h 105"/>
                <a:gd name="T30" fmla="*/ 3650 w 3673"/>
                <a:gd name="T31" fmla="*/ 95 h 105"/>
                <a:gd name="T32" fmla="*/ 3640 w 3673"/>
                <a:gd name="T33" fmla="*/ 100 h 105"/>
                <a:gd name="T34" fmla="*/ 3631 w 3673"/>
                <a:gd name="T35" fmla="*/ 103 h 105"/>
                <a:gd name="T36" fmla="*/ 3621 w 3673"/>
                <a:gd name="T37" fmla="*/ 105 h 105"/>
                <a:gd name="T38" fmla="*/ 53 w 3673"/>
                <a:gd name="T39" fmla="*/ 105 h 105"/>
                <a:gd name="T40" fmla="*/ 42 w 3673"/>
                <a:gd name="T41" fmla="*/ 103 h 105"/>
                <a:gd name="T42" fmla="*/ 32 w 3673"/>
                <a:gd name="T43" fmla="*/ 100 h 105"/>
                <a:gd name="T44" fmla="*/ 24 w 3673"/>
                <a:gd name="T45" fmla="*/ 95 h 105"/>
                <a:gd name="T46" fmla="*/ 16 w 3673"/>
                <a:gd name="T47" fmla="*/ 90 h 105"/>
                <a:gd name="T48" fmla="*/ 9 w 3673"/>
                <a:gd name="T49" fmla="*/ 81 h 105"/>
                <a:gd name="T50" fmla="*/ 4 w 3673"/>
                <a:gd name="T51" fmla="*/ 73 h 105"/>
                <a:gd name="T52" fmla="*/ 2 w 3673"/>
                <a:gd name="T53" fmla="*/ 63 h 105"/>
                <a:gd name="T54" fmla="*/ 0 w 3673"/>
                <a:gd name="T55" fmla="*/ 53 h 105"/>
                <a:gd name="T56" fmla="*/ 0 w 3673"/>
                <a:gd name="T57" fmla="*/ 53 h 105"/>
                <a:gd name="T58" fmla="*/ 2 w 3673"/>
                <a:gd name="T59" fmla="*/ 42 h 105"/>
                <a:gd name="T60" fmla="*/ 4 w 3673"/>
                <a:gd name="T61" fmla="*/ 33 h 105"/>
                <a:gd name="T62" fmla="*/ 9 w 3673"/>
                <a:gd name="T63" fmla="*/ 24 h 105"/>
                <a:gd name="T64" fmla="*/ 16 w 3673"/>
                <a:gd name="T65" fmla="*/ 15 h 105"/>
                <a:gd name="T66" fmla="*/ 24 w 3673"/>
                <a:gd name="T67" fmla="*/ 10 h 105"/>
                <a:gd name="T68" fmla="*/ 32 w 3673"/>
                <a:gd name="T69" fmla="*/ 5 h 105"/>
                <a:gd name="T70" fmla="*/ 42 w 3673"/>
                <a:gd name="T71" fmla="*/ 2 h 105"/>
                <a:gd name="T72" fmla="*/ 53 w 3673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3" h="105">
                  <a:moveTo>
                    <a:pt x="53" y="0"/>
                  </a:moveTo>
                  <a:lnTo>
                    <a:pt x="3621" y="0"/>
                  </a:lnTo>
                  <a:lnTo>
                    <a:pt x="3631" y="2"/>
                  </a:lnTo>
                  <a:lnTo>
                    <a:pt x="3640" y="5"/>
                  </a:lnTo>
                  <a:lnTo>
                    <a:pt x="3650" y="10"/>
                  </a:lnTo>
                  <a:lnTo>
                    <a:pt x="3658" y="15"/>
                  </a:lnTo>
                  <a:lnTo>
                    <a:pt x="3664" y="24"/>
                  </a:lnTo>
                  <a:lnTo>
                    <a:pt x="3668" y="33"/>
                  </a:lnTo>
                  <a:lnTo>
                    <a:pt x="3672" y="42"/>
                  </a:lnTo>
                  <a:lnTo>
                    <a:pt x="3673" y="53"/>
                  </a:lnTo>
                  <a:lnTo>
                    <a:pt x="3673" y="53"/>
                  </a:lnTo>
                  <a:lnTo>
                    <a:pt x="3672" y="63"/>
                  </a:lnTo>
                  <a:lnTo>
                    <a:pt x="3668" y="73"/>
                  </a:lnTo>
                  <a:lnTo>
                    <a:pt x="3664" y="81"/>
                  </a:lnTo>
                  <a:lnTo>
                    <a:pt x="3658" y="90"/>
                  </a:lnTo>
                  <a:lnTo>
                    <a:pt x="3650" y="95"/>
                  </a:lnTo>
                  <a:lnTo>
                    <a:pt x="3640" y="100"/>
                  </a:lnTo>
                  <a:lnTo>
                    <a:pt x="3631" y="103"/>
                  </a:lnTo>
                  <a:lnTo>
                    <a:pt x="3621" y="105"/>
                  </a:lnTo>
                  <a:lnTo>
                    <a:pt x="53" y="105"/>
                  </a:lnTo>
                  <a:lnTo>
                    <a:pt x="42" y="103"/>
                  </a:lnTo>
                  <a:lnTo>
                    <a:pt x="32" y="100"/>
                  </a:lnTo>
                  <a:lnTo>
                    <a:pt x="24" y="95"/>
                  </a:lnTo>
                  <a:lnTo>
                    <a:pt x="16" y="90"/>
                  </a:lnTo>
                  <a:lnTo>
                    <a:pt x="9" y="81"/>
                  </a:lnTo>
                  <a:lnTo>
                    <a:pt x="4" y="73"/>
                  </a:lnTo>
                  <a:lnTo>
                    <a:pt x="2" y="6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5"/>
                  </a:lnTo>
                  <a:lnTo>
                    <a:pt x="24" y="10"/>
                  </a:lnTo>
                  <a:lnTo>
                    <a:pt x="32" y="5"/>
                  </a:lnTo>
                  <a:lnTo>
                    <a:pt x="42" y="2"/>
                  </a:lnTo>
                  <a:lnTo>
                    <a:pt x="53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65000"/>
                  </a:schemeClr>
                </a:gs>
                <a:gs pos="44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D791EF4-39E0-4615-B2DA-2533EE298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9" y="3155370"/>
              <a:ext cx="3458504" cy="2397742"/>
            </a:xfrm>
            <a:custGeom>
              <a:avLst/>
              <a:gdLst>
                <a:gd name="T0" fmla="*/ 10459 w 10666"/>
                <a:gd name="T1" fmla="*/ 0 h 7397"/>
                <a:gd name="T2" fmla="*/ 10500 w 10666"/>
                <a:gd name="T3" fmla="*/ 5 h 7397"/>
                <a:gd name="T4" fmla="*/ 10539 w 10666"/>
                <a:gd name="T5" fmla="*/ 16 h 7397"/>
                <a:gd name="T6" fmla="*/ 10575 w 10666"/>
                <a:gd name="T7" fmla="*/ 36 h 7397"/>
                <a:gd name="T8" fmla="*/ 10605 w 10666"/>
                <a:gd name="T9" fmla="*/ 61 h 7397"/>
                <a:gd name="T10" fmla="*/ 10630 w 10666"/>
                <a:gd name="T11" fmla="*/ 91 h 7397"/>
                <a:gd name="T12" fmla="*/ 10650 w 10666"/>
                <a:gd name="T13" fmla="*/ 127 h 7397"/>
                <a:gd name="T14" fmla="*/ 10661 w 10666"/>
                <a:gd name="T15" fmla="*/ 166 h 7397"/>
                <a:gd name="T16" fmla="*/ 10666 w 10666"/>
                <a:gd name="T17" fmla="*/ 207 h 7397"/>
                <a:gd name="T18" fmla="*/ 10665 w 10666"/>
                <a:gd name="T19" fmla="*/ 7211 h 7397"/>
                <a:gd name="T20" fmla="*/ 10657 w 10666"/>
                <a:gd name="T21" fmla="*/ 7251 h 7397"/>
                <a:gd name="T22" fmla="*/ 10641 w 10666"/>
                <a:gd name="T23" fmla="*/ 7288 h 7397"/>
                <a:gd name="T24" fmla="*/ 10619 w 10666"/>
                <a:gd name="T25" fmla="*/ 7321 h 7397"/>
                <a:gd name="T26" fmla="*/ 10591 w 10666"/>
                <a:gd name="T27" fmla="*/ 7350 h 7397"/>
                <a:gd name="T28" fmla="*/ 10557 w 10666"/>
                <a:gd name="T29" fmla="*/ 7372 h 7397"/>
                <a:gd name="T30" fmla="*/ 10520 w 10666"/>
                <a:gd name="T31" fmla="*/ 7388 h 7397"/>
                <a:gd name="T32" fmla="*/ 10480 w 10666"/>
                <a:gd name="T33" fmla="*/ 7396 h 7397"/>
                <a:gd name="T34" fmla="*/ 207 w 10666"/>
                <a:gd name="T35" fmla="*/ 7397 h 7397"/>
                <a:gd name="T36" fmla="*/ 165 w 10666"/>
                <a:gd name="T37" fmla="*/ 7393 h 7397"/>
                <a:gd name="T38" fmla="*/ 126 w 10666"/>
                <a:gd name="T39" fmla="*/ 7381 h 7397"/>
                <a:gd name="T40" fmla="*/ 91 w 10666"/>
                <a:gd name="T41" fmla="*/ 7361 h 7397"/>
                <a:gd name="T42" fmla="*/ 60 w 10666"/>
                <a:gd name="T43" fmla="*/ 7336 h 7397"/>
                <a:gd name="T44" fmla="*/ 34 w 10666"/>
                <a:gd name="T45" fmla="*/ 7306 h 7397"/>
                <a:gd name="T46" fmla="*/ 16 w 10666"/>
                <a:gd name="T47" fmla="*/ 7270 h 7397"/>
                <a:gd name="T48" fmla="*/ 3 w 10666"/>
                <a:gd name="T49" fmla="*/ 7232 h 7397"/>
                <a:gd name="T50" fmla="*/ 0 w 10666"/>
                <a:gd name="T51" fmla="*/ 7190 h 7397"/>
                <a:gd name="T52" fmla="*/ 1 w 10666"/>
                <a:gd name="T53" fmla="*/ 186 h 7397"/>
                <a:gd name="T54" fmla="*/ 9 w 10666"/>
                <a:gd name="T55" fmla="*/ 146 h 7397"/>
                <a:gd name="T56" fmla="*/ 24 w 10666"/>
                <a:gd name="T57" fmla="*/ 109 h 7397"/>
                <a:gd name="T58" fmla="*/ 47 w 10666"/>
                <a:gd name="T59" fmla="*/ 75 h 7397"/>
                <a:gd name="T60" fmla="*/ 75 w 10666"/>
                <a:gd name="T61" fmla="*/ 47 h 7397"/>
                <a:gd name="T62" fmla="*/ 108 w 10666"/>
                <a:gd name="T63" fmla="*/ 25 h 7397"/>
                <a:gd name="T64" fmla="*/ 146 w 10666"/>
                <a:gd name="T65" fmla="*/ 9 h 7397"/>
                <a:gd name="T66" fmla="*/ 186 w 10666"/>
                <a:gd name="T67" fmla="*/ 1 h 7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66" h="7397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7190"/>
                  </a:lnTo>
                  <a:lnTo>
                    <a:pt x="10665" y="7211"/>
                  </a:lnTo>
                  <a:lnTo>
                    <a:pt x="10661" y="7232"/>
                  </a:lnTo>
                  <a:lnTo>
                    <a:pt x="10657" y="7251"/>
                  </a:lnTo>
                  <a:lnTo>
                    <a:pt x="10650" y="7270"/>
                  </a:lnTo>
                  <a:lnTo>
                    <a:pt x="10641" y="7288"/>
                  </a:lnTo>
                  <a:lnTo>
                    <a:pt x="10630" y="7306"/>
                  </a:lnTo>
                  <a:lnTo>
                    <a:pt x="10619" y="7321"/>
                  </a:lnTo>
                  <a:lnTo>
                    <a:pt x="10605" y="7336"/>
                  </a:lnTo>
                  <a:lnTo>
                    <a:pt x="10591" y="7350"/>
                  </a:lnTo>
                  <a:lnTo>
                    <a:pt x="10575" y="7361"/>
                  </a:lnTo>
                  <a:lnTo>
                    <a:pt x="10557" y="7372"/>
                  </a:lnTo>
                  <a:lnTo>
                    <a:pt x="10539" y="7381"/>
                  </a:lnTo>
                  <a:lnTo>
                    <a:pt x="10520" y="7388"/>
                  </a:lnTo>
                  <a:lnTo>
                    <a:pt x="10500" y="7393"/>
                  </a:lnTo>
                  <a:lnTo>
                    <a:pt x="10480" y="7396"/>
                  </a:lnTo>
                  <a:lnTo>
                    <a:pt x="10459" y="7397"/>
                  </a:lnTo>
                  <a:lnTo>
                    <a:pt x="207" y="7397"/>
                  </a:lnTo>
                  <a:lnTo>
                    <a:pt x="186" y="7396"/>
                  </a:lnTo>
                  <a:lnTo>
                    <a:pt x="165" y="7393"/>
                  </a:lnTo>
                  <a:lnTo>
                    <a:pt x="146" y="7388"/>
                  </a:lnTo>
                  <a:lnTo>
                    <a:pt x="126" y="7381"/>
                  </a:lnTo>
                  <a:lnTo>
                    <a:pt x="108" y="7372"/>
                  </a:lnTo>
                  <a:lnTo>
                    <a:pt x="91" y="7361"/>
                  </a:lnTo>
                  <a:lnTo>
                    <a:pt x="75" y="7350"/>
                  </a:lnTo>
                  <a:lnTo>
                    <a:pt x="60" y="7336"/>
                  </a:lnTo>
                  <a:lnTo>
                    <a:pt x="47" y="7321"/>
                  </a:lnTo>
                  <a:lnTo>
                    <a:pt x="34" y="7306"/>
                  </a:lnTo>
                  <a:lnTo>
                    <a:pt x="24" y="7288"/>
                  </a:lnTo>
                  <a:lnTo>
                    <a:pt x="16" y="7270"/>
                  </a:lnTo>
                  <a:lnTo>
                    <a:pt x="9" y="7251"/>
                  </a:lnTo>
                  <a:lnTo>
                    <a:pt x="3" y="7232"/>
                  </a:lnTo>
                  <a:lnTo>
                    <a:pt x="1" y="7211"/>
                  </a:lnTo>
                  <a:lnTo>
                    <a:pt x="0" y="7190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3A2C0B88-74DA-45C0-BA2B-E2D1881F6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9" y="3155370"/>
              <a:ext cx="3458504" cy="2086515"/>
            </a:xfrm>
            <a:custGeom>
              <a:avLst/>
              <a:gdLst>
                <a:gd name="T0" fmla="*/ 207 w 10666"/>
                <a:gd name="T1" fmla="*/ 0 h 6436"/>
                <a:gd name="T2" fmla="*/ 10459 w 10666"/>
                <a:gd name="T3" fmla="*/ 0 h 6436"/>
                <a:gd name="T4" fmla="*/ 10480 w 10666"/>
                <a:gd name="T5" fmla="*/ 1 h 6436"/>
                <a:gd name="T6" fmla="*/ 10500 w 10666"/>
                <a:gd name="T7" fmla="*/ 5 h 6436"/>
                <a:gd name="T8" fmla="*/ 10520 w 10666"/>
                <a:gd name="T9" fmla="*/ 9 h 6436"/>
                <a:gd name="T10" fmla="*/ 10539 w 10666"/>
                <a:gd name="T11" fmla="*/ 16 h 6436"/>
                <a:gd name="T12" fmla="*/ 10557 w 10666"/>
                <a:gd name="T13" fmla="*/ 25 h 6436"/>
                <a:gd name="T14" fmla="*/ 10575 w 10666"/>
                <a:gd name="T15" fmla="*/ 36 h 6436"/>
                <a:gd name="T16" fmla="*/ 10591 w 10666"/>
                <a:gd name="T17" fmla="*/ 47 h 6436"/>
                <a:gd name="T18" fmla="*/ 10605 w 10666"/>
                <a:gd name="T19" fmla="*/ 61 h 6436"/>
                <a:gd name="T20" fmla="*/ 10619 w 10666"/>
                <a:gd name="T21" fmla="*/ 75 h 6436"/>
                <a:gd name="T22" fmla="*/ 10630 w 10666"/>
                <a:gd name="T23" fmla="*/ 91 h 6436"/>
                <a:gd name="T24" fmla="*/ 10641 w 10666"/>
                <a:gd name="T25" fmla="*/ 109 h 6436"/>
                <a:gd name="T26" fmla="*/ 10650 w 10666"/>
                <a:gd name="T27" fmla="*/ 127 h 6436"/>
                <a:gd name="T28" fmla="*/ 10657 w 10666"/>
                <a:gd name="T29" fmla="*/ 146 h 6436"/>
                <a:gd name="T30" fmla="*/ 10661 w 10666"/>
                <a:gd name="T31" fmla="*/ 166 h 6436"/>
                <a:gd name="T32" fmla="*/ 10665 w 10666"/>
                <a:gd name="T33" fmla="*/ 186 h 6436"/>
                <a:gd name="T34" fmla="*/ 10666 w 10666"/>
                <a:gd name="T35" fmla="*/ 207 h 6436"/>
                <a:gd name="T36" fmla="*/ 10666 w 10666"/>
                <a:gd name="T37" fmla="*/ 6436 h 6436"/>
                <a:gd name="T38" fmla="*/ 0 w 10666"/>
                <a:gd name="T39" fmla="*/ 6436 h 6436"/>
                <a:gd name="T40" fmla="*/ 0 w 10666"/>
                <a:gd name="T41" fmla="*/ 207 h 6436"/>
                <a:gd name="T42" fmla="*/ 1 w 10666"/>
                <a:gd name="T43" fmla="*/ 186 h 6436"/>
                <a:gd name="T44" fmla="*/ 3 w 10666"/>
                <a:gd name="T45" fmla="*/ 166 h 6436"/>
                <a:gd name="T46" fmla="*/ 9 w 10666"/>
                <a:gd name="T47" fmla="*/ 146 h 6436"/>
                <a:gd name="T48" fmla="*/ 16 w 10666"/>
                <a:gd name="T49" fmla="*/ 127 h 6436"/>
                <a:gd name="T50" fmla="*/ 24 w 10666"/>
                <a:gd name="T51" fmla="*/ 109 h 6436"/>
                <a:gd name="T52" fmla="*/ 34 w 10666"/>
                <a:gd name="T53" fmla="*/ 91 h 6436"/>
                <a:gd name="T54" fmla="*/ 47 w 10666"/>
                <a:gd name="T55" fmla="*/ 75 h 6436"/>
                <a:gd name="T56" fmla="*/ 60 w 10666"/>
                <a:gd name="T57" fmla="*/ 61 h 6436"/>
                <a:gd name="T58" fmla="*/ 75 w 10666"/>
                <a:gd name="T59" fmla="*/ 47 h 6436"/>
                <a:gd name="T60" fmla="*/ 91 w 10666"/>
                <a:gd name="T61" fmla="*/ 36 h 6436"/>
                <a:gd name="T62" fmla="*/ 108 w 10666"/>
                <a:gd name="T63" fmla="*/ 25 h 6436"/>
                <a:gd name="T64" fmla="*/ 126 w 10666"/>
                <a:gd name="T65" fmla="*/ 16 h 6436"/>
                <a:gd name="T66" fmla="*/ 146 w 10666"/>
                <a:gd name="T67" fmla="*/ 9 h 6436"/>
                <a:gd name="T68" fmla="*/ 165 w 10666"/>
                <a:gd name="T69" fmla="*/ 5 h 6436"/>
                <a:gd name="T70" fmla="*/ 186 w 10666"/>
                <a:gd name="T71" fmla="*/ 1 h 6436"/>
                <a:gd name="T72" fmla="*/ 207 w 10666"/>
                <a:gd name="T73" fmla="*/ 0 h 6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6" h="6436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6436"/>
                  </a:lnTo>
                  <a:lnTo>
                    <a:pt x="0" y="6436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9A22C5B2-38A3-42BA-A2A5-9C226BBCFF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913" y="3290235"/>
              <a:ext cx="3205633" cy="18167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DCBA333A-EC40-4F75-8BEA-578C20AC3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913" y="3290235"/>
              <a:ext cx="3205633" cy="3371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8D9EE697-72E5-4550-BEC8-BBC473AAE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333" y="5052556"/>
              <a:ext cx="1531494" cy="54465"/>
            </a:xfrm>
            <a:custGeom>
              <a:avLst/>
              <a:gdLst>
                <a:gd name="T0" fmla="*/ 112 w 4724"/>
                <a:gd name="T1" fmla="*/ 0 h 169"/>
                <a:gd name="T2" fmla="*/ 4569 w 4724"/>
                <a:gd name="T3" fmla="*/ 0 h 169"/>
                <a:gd name="T4" fmla="*/ 4724 w 4724"/>
                <a:gd name="T5" fmla="*/ 169 h 169"/>
                <a:gd name="T6" fmla="*/ 0 w 4724"/>
                <a:gd name="T7" fmla="*/ 169 h 169"/>
                <a:gd name="T8" fmla="*/ 112 w 4724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4" h="169">
                  <a:moveTo>
                    <a:pt x="112" y="0"/>
                  </a:moveTo>
                  <a:lnTo>
                    <a:pt x="4569" y="0"/>
                  </a:lnTo>
                  <a:lnTo>
                    <a:pt x="4724" y="169"/>
                  </a:lnTo>
                  <a:lnTo>
                    <a:pt x="0" y="169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4">
              <a:extLst>
                <a:ext uri="{FF2B5EF4-FFF2-40B4-BE49-F238E27FC236}">
                  <a16:creationId xmlns:a16="http://schemas.microsoft.com/office/drawing/2014/main" id="{BB6FC8DA-FF34-4385-94AD-1D87B3EE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9259" y="3155370"/>
              <a:ext cx="1901074" cy="2045019"/>
            </a:xfrm>
            <a:custGeom>
              <a:avLst/>
              <a:gdLst>
                <a:gd name="T0" fmla="*/ 3815 w 5865"/>
                <a:gd name="T1" fmla="*/ 0 h 6311"/>
                <a:gd name="T2" fmla="*/ 5660 w 5865"/>
                <a:gd name="T3" fmla="*/ 0 h 6311"/>
                <a:gd name="T4" fmla="*/ 5681 w 5865"/>
                <a:gd name="T5" fmla="*/ 1 h 6311"/>
                <a:gd name="T6" fmla="*/ 5702 w 5865"/>
                <a:gd name="T7" fmla="*/ 4 h 6311"/>
                <a:gd name="T8" fmla="*/ 5721 w 5865"/>
                <a:gd name="T9" fmla="*/ 9 h 6311"/>
                <a:gd name="T10" fmla="*/ 5740 w 5865"/>
                <a:gd name="T11" fmla="*/ 16 h 6311"/>
                <a:gd name="T12" fmla="*/ 5758 w 5865"/>
                <a:gd name="T13" fmla="*/ 24 h 6311"/>
                <a:gd name="T14" fmla="*/ 5775 w 5865"/>
                <a:gd name="T15" fmla="*/ 34 h 6311"/>
                <a:gd name="T16" fmla="*/ 5791 w 5865"/>
                <a:gd name="T17" fmla="*/ 46 h 6311"/>
                <a:gd name="T18" fmla="*/ 5805 w 5865"/>
                <a:gd name="T19" fmla="*/ 60 h 6311"/>
                <a:gd name="T20" fmla="*/ 5819 w 5865"/>
                <a:gd name="T21" fmla="*/ 74 h 6311"/>
                <a:gd name="T22" fmla="*/ 5830 w 5865"/>
                <a:gd name="T23" fmla="*/ 90 h 6311"/>
                <a:gd name="T24" fmla="*/ 5841 w 5865"/>
                <a:gd name="T25" fmla="*/ 106 h 6311"/>
                <a:gd name="T26" fmla="*/ 5849 w 5865"/>
                <a:gd name="T27" fmla="*/ 125 h 6311"/>
                <a:gd name="T28" fmla="*/ 5856 w 5865"/>
                <a:gd name="T29" fmla="*/ 143 h 6311"/>
                <a:gd name="T30" fmla="*/ 5861 w 5865"/>
                <a:gd name="T31" fmla="*/ 163 h 6311"/>
                <a:gd name="T32" fmla="*/ 5864 w 5865"/>
                <a:gd name="T33" fmla="*/ 182 h 6311"/>
                <a:gd name="T34" fmla="*/ 5865 w 5865"/>
                <a:gd name="T35" fmla="*/ 203 h 6311"/>
                <a:gd name="T36" fmla="*/ 5865 w 5865"/>
                <a:gd name="T37" fmla="*/ 6311 h 6311"/>
                <a:gd name="T38" fmla="*/ 0 w 5865"/>
                <a:gd name="T39" fmla="*/ 6311 h 6311"/>
                <a:gd name="T40" fmla="*/ 3815 w 5865"/>
                <a:gd name="T41" fmla="*/ 0 h 6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65" h="6311">
                  <a:moveTo>
                    <a:pt x="3815" y="0"/>
                  </a:moveTo>
                  <a:lnTo>
                    <a:pt x="5660" y="0"/>
                  </a:lnTo>
                  <a:lnTo>
                    <a:pt x="5681" y="1"/>
                  </a:lnTo>
                  <a:lnTo>
                    <a:pt x="5702" y="4"/>
                  </a:lnTo>
                  <a:lnTo>
                    <a:pt x="5721" y="9"/>
                  </a:lnTo>
                  <a:lnTo>
                    <a:pt x="5740" y="16"/>
                  </a:lnTo>
                  <a:lnTo>
                    <a:pt x="5758" y="24"/>
                  </a:lnTo>
                  <a:lnTo>
                    <a:pt x="5775" y="34"/>
                  </a:lnTo>
                  <a:lnTo>
                    <a:pt x="5791" y="46"/>
                  </a:lnTo>
                  <a:lnTo>
                    <a:pt x="5805" y="60"/>
                  </a:lnTo>
                  <a:lnTo>
                    <a:pt x="5819" y="74"/>
                  </a:lnTo>
                  <a:lnTo>
                    <a:pt x="5830" y="90"/>
                  </a:lnTo>
                  <a:lnTo>
                    <a:pt x="5841" y="106"/>
                  </a:lnTo>
                  <a:lnTo>
                    <a:pt x="5849" y="125"/>
                  </a:lnTo>
                  <a:lnTo>
                    <a:pt x="5856" y="143"/>
                  </a:lnTo>
                  <a:lnTo>
                    <a:pt x="5861" y="163"/>
                  </a:lnTo>
                  <a:lnTo>
                    <a:pt x="5864" y="182"/>
                  </a:lnTo>
                  <a:lnTo>
                    <a:pt x="5865" y="203"/>
                  </a:lnTo>
                  <a:lnTo>
                    <a:pt x="5865" y="6311"/>
                  </a:lnTo>
                  <a:lnTo>
                    <a:pt x="0" y="6311"/>
                  </a:lnTo>
                  <a:lnTo>
                    <a:pt x="3815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36000"/>
                  </a:schemeClr>
                </a:gs>
                <a:gs pos="50000">
                  <a:schemeClr val="bg1">
                    <a:alpha val="13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96F4CA26-D2F0-4BB4-90D9-BDD68DA84DE4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oogle Shape;785;p49">
            <a:extLst>
              <a:ext uri="{FF2B5EF4-FFF2-40B4-BE49-F238E27FC236}">
                <a16:creationId xmlns:a16="http://schemas.microsoft.com/office/drawing/2014/main" id="{4A857914-DE9B-428C-A6B6-2F6FB80BCAB7}"/>
              </a:ext>
            </a:extLst>
          </p:cNvPr>
          <p:cNvGrpSpPr/>
          <p:nvPr/>
        </p:nvGrpSpPr>
        <p:grpSpPr>
          <a:xfrm rot="21230625">
            <a:off x="10582302" y="2318655"/>
            <a:ext cx="368551" cy="468424"/>
            <a:chOff x="2594325" y="1627175"/>
            <a:chExt cx="440850" cy="440850"/>
          </a:xfrm>
          <a:solidFill>
            <a:srgbClr val="CE295E"/>
          </a:solidFill>
        </p:grpSpPr>
        <p:sp>
          <p:nvSpPr>
            <p:cNvPr id="40" name="Google Shape;786;p49">
              <a:extLst>
                <a:ext uri="{FF2B5EF4-FFF2-40B4-BE49-F238E27FC236}">
                  <a16:creationId xmlns:a16="http://schemas.microsoft.com/office/drawing/2014/main" id="{B3793625-A253-48C6-8F90-D856600141EC}"/>
                </a:ext>
              </a:extLst>
            </p:cNvPr>
            <p:cNvSpPr/>
            <p:nvPr/>
          </p:nvSpPr>
          <p:spPr>
            <a:xfrm>
              <a:off x="2594325" y="1890950"/>
              <a:ext cx="177075" cy="177075"/>
            </a:xfrm>
            <a:custGeom>
              <a:avLst/>
              <a:gdLst/>
              <a:ahLst/>
              <a:cxnLst/>
              <a:rect l="l" t="t" r="r" b="b"/>
              <a:pathLst>
                <a:path w="7083" h="7083" extrusionOk="0">
                  <a:moveTo>
                    <a:pt x="5544" y="0"/>
                  </a:moveTo>
                  <a:lnTo>
                    <a:pt x="538" y="5984"/>
                  </a:lnTo>
                  <a:lnTo>
                    <a:pt x="0" y="7083"/>
                  </a:lnTo>
                  <a:lnTo>
                    <a:pt x="1099" y="6546"/>
                  </a:lnTo>
                  <a:lnTo>
                    <a:pt x="7083" y="1539"/>
                  </a:lnTo>
                  <a:lnTo>
                    <a:pt x="55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87;p49">
              <a:extLst>
                <a:ext uri="{FF2B5EF4-FFF2-40B4-BE49-F238E27FC236}">
                  <a16:creationId xmlns:a16="http://schemas.microsoft.com/office/drawing/2014/main" id="{AE7C9E48-7DBD-416B-9943-F9A9EE5A377D}"/>
                </a:ext>
              </a:extLst>
            </p:cNvPr>
            <p:cNvSpPr/>
            <p:nvPr/>
          </p:nvSpPr>
          <p:spPr>
            <a:xfrm>
              <a:off x="2858700" y="1627175"/>
              <a:ext cx="176475" cy="176475"/>
            </a:xfrm>
            <a:custGeom>
              <a:avLst/>
              <a:gdLst/>
              <a:ahLst/>
              <a:cxnLst/>
              <a:rect l="l" t="t" r="r" b="b"/>
              <a:pathLst>
                <a:path w="7059" h="7059" extrusionOk="0">
                  <a:moveTo>
                    <a:pt x="904" y="1"/>
                  </a:moveTo>
                  <a:lnTo>
                    <a:pt x="782" y="25"/>
                  </a:lnTo>
                  <a:lnTo>
                    <a:pt x="684" y="98"/>
                  </a:lnTo>
                  <a:lnTo>
                    <a:pt x="611" y="147"/>
                  </a:lnTo>
                  <a:lnTo>
                    <a:pt x="489" y="294"/>
                  </a:lnTo>
                  <a:lnTo>
                    <a:pt x="367" y="440"/>
                  </a:lnTo>
                  <a:lnTo>
                    <a:pt x="294" y="587"/>
                  </a:lnTo>
                  <a:lnTo>
                    <a:pt x="196" y="733"/>
                  </a:lnTo>
                  <a:lnTo>
                    <a:pt x="74" y="1051"/>
                  </a:lnTo>
                  <a:lnTo>
                    <a:pt x="0" y="1393"/>
                  </a:lnTo>
                  <a:lnTo>
                    <a:pt x="0" y="1735"/>
                  </a:lnTo>
                  <a:lnTo>
                    <a:pt x="25" y="2052"/>
                  </a:lnTo>
                  <a:lnTo>
                    <a:pt x="123" y="2394"/>
                  </a:lnTo>
                  <a:lnTo>
                    <a:pt x="269" y="2711"/>
                  </a:lnTo>
                  <a:lnTo>
                    <a:pt x="4348" y="6790"/>
                  </a:lnTo>
                  <a:lnTo>
                    <a:pt x="4665" y="6937"/>
                  </a:lnTo>
                  <a:lnTo>
                    <a:pt x="5007" y="7034"/>
                  </a:lnTo>
                  <a:lnTo>
                    <a:pt x="5325" y="7059"/>
                  </a:lnTo>
                  <a:lnTo>
                    <a:pt x="5667" y="7059"/>
                  </a:lnTo>
                  <a:lnTo>
                    <a:pt x="6008" y="6986"/>
                  </a:lnTo>
                  <a:lnTo>
                    <a:pt x="6326" y="6863"/>
                  </a:lnTo>
                  <a:lnTo>
                    <a:pt x="6473" y="6766"/>
                  </a:lnTo>
                  <a:lnTo>
                    <a:pt x="6619" y="6692"/>
                  </a:lnTo>
                  <a:lnTo>
                    <a:pt x="6766" y="6570"/>
                  </a:lnTo>
                  <a:lnTo>
                    <a:pt x="6912" y="6448"/>
                  </a:lnTo>
                  <a:lnTo>
                    <a:pt x="6961" y="6375"/>
                  </a:lnTo>
                  <a:lnTo>
                    <a:pt x="7034" y="6277"/>
                  </a:lnTo>
                  <a:lnTo>
                    <a:pt x="7059" y="6155"/>
                  </a:lnTo>
                  <a:lnTo>
                    <a:pt x="7059" y="6057"/>
                  </a:lnTo>
                  <a:lnTo>
                    <a:pt x="7059" y="5960"/>
                  </a:lnTo>
                  <a:lnTo>
                    <a:pt x="7034" y="5862"/>
                  </a:lnTo>
                  <a:lnTo>
                    <a:pt x="6961" y="5764"/>
                  </a:lnTo>
                  <a:lnTo>
                    <a:pt x="6912" y="5667"/>
                  </a:lnTo>
                  <a:lnTo>
                    <a:pt x="1393" y="147"/>
                  </a:lnTo>
                  <a:lnTo>
                    <a:pt x="1295" y="98"/>
                  </a:lnTo>
                  <a:lnTo>
                    <a:pt x="1197" y="25"/>
                  </a:lnTo>
                  <a:lnTo>
                    <a:pt x="10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88;p49">
              <a:extLst>
                <a:ext uri="{FF2B5EF4-FFF2-40B4-BE49-F238E27FC236}">
                  <a16:creationId xmlns:a16="http://schemas.microsoft.com/office/drawing/2014/main" id="{D8F8793E-82C3-4D91-92C9-33E3607AC26C}"/>
                </a:ext>
              </a:extLst>
            </p:cNvPr>
            <p:cNvSpPr/>
            <p:nvPr/>
          </p:nvSpPr>
          <p:spPr>
            <a:xfrm>
              <a:off x="2663325" y="1702275"/>
              <a:ext cx="296750" cy="296775"/>
            </a:xfrm>
            <a:custGeom>
              <a:avLst/>
              <a:gdLst/>
              <a:ahLst/>
              <a:cxnLst/>
              <a:rect l="l" t="t" r="r" b="b"/>
              <a:pathLst>
                <a:path w="11870" h="11871" extrusionOk="0">
                  <a:moveTo>
                    <a:pt x="7718" y="1295"/>
                  </a:moveTo>
                  <a:lnTo>
                    <a:pt x="7815" y="1319"/>
                  </a:lnTo>
                  <a:lnTo>
                    <a:pt x="7889" y="1368"/>
                  </a:lnTo>
                  <a:lnTo>
                    <a:pt x="7938" y="1442"/>
                  </a:lnTo>
                  <a:lnTo>
                    <a:pt x="7938" y="1515"/>
                  </a:lnTo>
                  <a:lnTo>
                    <a:pt x="7938" y="1588"/>
                  </a:lnTo>
                  <a:lnTo>
                    <a:pt x="7889" y="1661"/>
                  </a:lnTo>
                  <a:lnTo>
                    <a:pt x="5862" y="3664"/>
                  </a:lnTo>
                  <a:lnTo>
                    <a:pt x="5788" y="3713"/>
                  </a:lnTo>
                  <a:lnTo>
                    <a:pt x="5715" y="3737"/>
                  </a:lnTo>
                  <a:lnTo>
                    <a:pt x="5642" y="3713"/>
                  </a:lnTo>
                  <a:lnTo>
                    <a:pt x="5569" y="3664"/>
                  </a:lnTo>
                  <a:lnTo>
                    <a:pt x="5520" y="3591"/>
                  </a:lnTo>
                  <a:lnTo>
                    <a:pt x="5495" y="3517"/>
                  </a:lnTo>
                  <a:lnTo>
                    <a:pt x="5520" y="3444"/>
                  </a:lnTo>
                  <a:lnTo>
                    <a:pt x="5569" y="3371"/>
                  </a:lnTo>
                  <a:lnTo>
                    <a:pt x="7571" y="1368"/>
                  </a:lnTo>
                  <a:lnTo>
                    <a:pt x="7644" y="1319"/>
                  </a:lnTo>
                  <a:lnTo>
                    <a:pt x="7718" y="1295"/>
                  </a:lnTo>
                  <a:close/>
                  <a:moveTo>
                    <a:pt x="7767" y="1"/>
                  </a:moveTo>
                  <a:lnTo>
                    <a:pt x="4885" y="2907"/>
                  </a:lnTo>
                  <a:lnTo>
                    <a:pt x="4640" y="2809"/>
                  </a:lnTo>
                  <a:lnTo>
                    <a:pt x="4396" y="2712"/>
                  </a:lnTo>
                  <a:lnTo>
                    <a:pt x="4103" y="2614"/>
                  </a:lnTo>
                  <a:lnTo>
                    <a:pt x="3810" y="2565"/>
                  </a:lnTo>
                  <a:lnTo>
                    <a:pt x="3493" y="2492"/>
                  </a:lnTo>
                  <a:lnTo>
                    <a:pt x="3175" y="2443"/>
                  </a:lnTo>
                  <a:lnTo>
                    <a:pt x="2858" y="2418"/>
                  </a:lnTo>
                  <a:lnTo>
                    <a:pt x="2247" y="2418"/>
                  </a:lnTo>
                  <a:lnTo>
                    <a:pt x="1954" y="2443"/>
                  </a:lnTo>
                  <a:lnTo>
                    <a:pt x="1636" y="2492"/>
                  </a:lnTo>
                  <a:lnTo>
                    <a:pt x="1319" y="2565"/>
                  </a:lnTo>
                  <a:lnTo>
                    <a:pt x="1001" y="2687"/>
                  </a:lnTo>
                  <a:lnTo>
                    <a:pt x="708" y="2809"/>
                  </a:lnTo>
                  <a:lnTo>
                    <a:pt x="415" y="3005"/>
                  </a:lnTo>
                  <a:lnTo>
                    <a:pt x="147" y="3224"/>
                  </a:lnTo>
                  <a:lnTo>
                    <a:pt x="73" y="3298"/>
                  </a:lnTo>
                  <a:lnTo>
                    <a:pt x="24" y="3395"/>
                  </a:lnTo>
                  <a:lnTo>
                    <a:pt x="0" y="3493"/>
                  </a:lnTo>
                  <a:lnTo>
                    <a:pt x="0" y="3615"/>
                  </a:lnTo>
                  <a:lnTo>
                    <a:pt x="0" y="3713"/>
                  </a:lnTo>
                  <a:lnTo>
                    <a:pt x="24" y="3811"/>
                  </a:lnTo>
                  <a:lnTo>
                    <a:pt x="73" y="3908"/>
                  </a:lnTo>
                  <a:lnTo>
                    <a:pt x="147" y="4006"/>
                  </a:lnTo>
                  <a:lnTo>
                    <a:pt x="7864" y="11724"/>
                  </a:lnTo>
                  <a:lnTo>
                    <a:pt x="7962" y="11797"/>
                  </a:lnTo>
                  <a:lnTo>
                    <a:pt x="8060" y="11846"/>
                  </a:lnTo>
                  <a:lnTo>
                    <a:pt x="8157" y="11870"/>
                  </a:lnTo>
                  <a:lnTo>
                    <a:pt x="8377" y="11870"/>
                  </a:lnTo>
                  <a:lnTo>
                    <a:pt x="8475" y="11846"/>
                  </a:lnTo>
                  <a:lnTo>
                    <a:pt x="8573" y="11797"/>
                  </a:lnTo>
                  <a:lnTo>
                    <a:pt x="8646" y="11724"/>
                  </a:lnTo>
                  <a:lnTo>
                    <a:pt x="8866" y="11455"/>
                  </a:lnTo>
                  <a:lnTo>
                    <a:pt x="9061" y="11162"/>
                  </a:lnTo>
                  <a:lnTo>
                    <a:pt x="9183" y="10869"/>
                  </a:lnTo>
                  <a:lnTo>
                    <a:pt x="9305" y="10551"/>
                  </a:lnTo>
                  <a:lnTo>
                    <a:pt x="9379" y="10234"/>
                  </a:lnTo>
                  <a:lnTo>
                    <a:pt x="9427" y="9916"/>
                  </a:lnTo>
                  <a:lnTo>
                    <a:pt x="9452" y="9623"/>
                  </a:lnTo>
                  <a:lnTo>
                    <a:pt x="9452" y="9330"/>
                  </a:lnTo>
                  <a:lnTo>
                    <a:pt x="9452" y="9013"/>
                  </a:lnTo>
                  <a:lnTo>
                    <a:pt x="9427" y="8695"/>
                  </a:lnTo>
                  <a:lnTo>
                    <a:pt x="9379" y="8378"/>
                  </a:lnTo>
                  <a:lnTo>
                    <a:pt x="9305" y="8060"/>
                  </a:lnTo>
                  <a:lnTo>
                    <a:pt x="9256" y="7767"/>
                  </a:lnTo>
                  <a:lnTo>
                    <a:pt x="9159" y="7474"/>
                  </a:lnTo>
                  <a:lnTo>
                    <a:pt x="9061" y="7230"/>
                  </a:lnTo>
                  <a:lnTo>
                    <a:pt x="8963" y="6986"/>
                  </a:lnTo>
                  <a:lnTo>
                    <a:pt x="11870" y="4104"/>
                  </a:lnTo>
                  <a:lnTo>
                    <a:pt x="77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560E9CC-6031-469A-B3B1-74BF2AA0558A}"/>
              </a:ext>
            </a:extLst>
          </p:cNvPr>
          <p:cNvSpPr/>
          <p:nvPr/>
        </p:nvSpPr>
        <p:spPr>
          <a:xfrm>
            <a:off x="6639021" y="2756073"/>
            <a:ext cx="4164299" cy="833807"/>
          </a:xfrm>
          <a:prstGeom prst="rect">
            <a:avLst/>
          </a:prstGeom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F19464-7408-4CB8-9C8D-6CAE84CA4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7152" y="2933283"/>
            <a:ext cx="4948035" cy="498598"/>
          </a:xfrm>
        </p:spPr>
        <p:txBody>
          <a:bodyPr/>
          <a:lstStyle/>
          <a:p>
            <a:r>
              <a:rPr lang="vi-VN" b="1" dirty="0">
                <a:solidFill>
                  <a:schemeClr val="bg1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NỘI DUNG CHÍNH</a:t>
            </a:r>
            <a:endParaRPr lang="en-US" b="1" dirty="0">
              <a:solidFill>
                <a:schemeClr val="bg1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AF39475-DA94-4EA1-92CD-344DB6EBAC6B}"/>
              </a:ext>
            </a:extLst>
          </p:cNvPr>
          <p:cNvSpPr/>
          <p:nvPr/>
        </p:nvSpPr>
        <p:spPr>
          <a:xfrm>
            <a:off x="0" y="1720427"/>
            <a:ext cx="5047914" cy="711023"/>
          </a:xfrm>
          <a:prstGeom prst="roundRect">
            <a:avLst>
              <a:gd name="adj" fmla="val 50000"/>
            </a:avLst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Google Shape;369;p35">
            <a:extLst>
              <a:ext uri="{FF2B5EF4-FFF2-40B4-BE49-F238E27FC236}">
                <a16:creationId xmlns:a16="http://schemas.microsoft.com/office/drawing/2014/main" id="{C3BE111A-E713-4C56-9D73-E571C059825B}"/>
              </a:ext>
            </a:extLst>
          </p:cNvPr>
          <p:cNvSpPr txBox="1">
            <a:spLocks/>
          </p:cNvSpPr>
          <p:nvPr/>
        </p:nvSpPr>
        <p:spPr>
          <a:xfrm>
            <a:off x="841815" y="1860264"/>
            <a:ext cx="3617400" cy="41912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ý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,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ục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ích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ọn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CE0B65-EA3A-426C-85CA-4043448BB9C7}"/>
              </a:ext>
            </a:extLst>
          </p:cNvPr>
          <p:cNvSpPr/>
          <p:nvPr/>
        </p:nvSpPr>
        <p:spPr>
          <a:xfrm>
            <a:off x="4329423" y="1698058"/>
            <a:ext cx="714772" cy="714772"/>
          </a:xfrm>
          <a:prstGeom prst="ellipse">
            <a:avLst/>
          </a:prstGeom>
          <a:solidFill>
            <a:srgbClr val="CE295E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4DB52D-35BC-430D-BD17-CBC693E02466}"/>
              </a:ext>
            </a:extLst>
          </p:cNvPr>
          <p:cNvGrpSpPr/>
          <p:nvPr/>
        </p:nvGrpSpPr>
        <p:grpSpPr>
          <a:xfrm>
            <a:off x="4536598" y="1922138"/>
            <a:ext cx="287338" cy="260350"/>
            <a:chOff x="6448425" y="796925"/>
            <a:chExt cx="287338" cy="260350"/>
          </a:xfrm>
          <a:solidFill>
            <a:schemeClr val="bg1"/>
          </a:solidFill>
        </p:grpSpPr>
        <p:sp>
          <p:nvSpPr>
            <p:cNvPr id="34" name="Freeform 3562">
              <a:extLst>
                <a:ext uri="{FF2B5EF4-FFF2-40B4-BE49-F238E27FC236}">
                  <a16:creationId xmlns:a16="http://schemas.microsoft.com/office/drawing/2014/main" id="{FAF14E47-7F49-4BA7-8585-B0E0287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425" y="796925"/>
              <a:ext cx="277812" cy="161925"/>
            </a:xfrm>
            <a:custGeom>
              <a:avLst/>
              <a:gdLst>
                <a:gd name="T0" fmla="*/ 8 w 701"/>
                <a:gd name="T1" fmla="*/ 285 h 408"/>
                <a:gd name="T2" fmla="*/ 5 w 701"/>
                <a:gd name="T3" fmla="*/ 288 h 408"/>
                <a:gd name="T4" fmla="*/ 2 w 701"/>
                <a:gd name="T5" fmla="*/ 290 h 408"/>
                <a:gd name="T6" fmla="*/ 1 w 701"/>
                <a:gd name="T7" fmla="*/ 293 h 408"/>
                <a:gd name="T8" fmla="*/ 0 w 701"/>
                <a:gd name="T9" fmla="*/ 297 h 408"/>
                <a:gd name="T10" fmla="*/ 1 w 701"/>
                <a:gd name="T11" fmla="*/ 300 h 408"/>
                <a:gd name="T12" fmla="*/ 2 w 701"/>
                <a:gd name="T13" fmla="*/ 303 h 408"/>
                <a:gd name="T14" fmla="*/ 5 w 701"/>
                <a:gd name="T15" fmla="*/ 306 h 408"/>
                <a:gd name="T16" fmla="*/ 8 w 701"/>
                <a:gd name="T17" fmla="*/ 308 h 408"/>
                <a:gd name="T18" fmla="*/ 259 w 701"/>
                <a:gd name="T19" fmla="*/ 408 h 408"/>
                <a:gd name="T20" fmla="*/ 701 w 701"/>
                <a:gd name="T21" fmla="*/ 0 h 408"/>
                <a:gd name="T22" fmla="*/ 8 w 701"/>
                <a:gd name="T23" fmla="*/ 28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1" h="408">
                  <a:moveTo>
                    <a:pt x="8" y="285"/>
                  </a:moveTo>
                  <a:lnTo>
                    <a:pt x="5" y="288"/>
                  </a:lnTo>
                  <a:lnTo>
                    <a:pt x="2" y="290"/>
                  </a:lnTo>
                  <a:lnTo>
                    <a:pt x="1" y="293"/>
                  </a:lnTo>
                  <a:lnTo>
                    <a:pt x="0" y="297"/>
                  </a:lnTo>
                  <a:lnTo>
                    <a:pt x="1" y="300"/>
                  </a:lnTo>
                  <a:lnTo>
                    <a:pt x="2" y="303"/>
                  </a:lnTo>
                  <a:lnTo>
                    <a:pt x="5" y="306"/>
                  </a:lnTo>
                  <a:lnTo>
                    <a:pt x="8" y="308"/>
                  </a:lnTo>
                  <a:lnTo>
                    <a:pt x="259" y="408"/>
                  </a:lnTo>
                  <a:lnTo>
                    <a:pt x="701" y="0"/>
                  </a:lnTo>
                  <a:lnTo>
                    <a:pt x="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63">
              <a:extLst>
                <a:ext uri="{FF2B5EF4-FFF2-40B4-BE49-F238E27FC236}">
                  <a16:creationId xmlns:a16="http://schemas.microsoft.com/office/drawing/2014/main" id="{C6E7DA52-146D-4723-BC22-DEA5BB942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788" y="800100"/>
              <a:ext cx="180975" cy="257175"/>
            </a:xfrm>
            <a:custGeom>
              <a:avLst/>
              <a:gdLst>
                <a:gd name="T0" fmla="*/ 0 w 456"/>
                <a:gd name="T1" fmla="*/ 424 h 646"/>
                <a:gd name="T2" fmla="*/ 0 w 456"/>
                <a:gd name="T3" fmla="*/ 635 h 646"/>
                <a:gd name="T4" fmla="*/ 0 w 456"/>
                <a:gd name="T5" fmla="*/ 639 h 646"/>
                <a:gd name="T6" fmla="*/ 3 w 456"/>
                <a:gd name="T7" fmla="*/ 642 h 646"/>
                <a:gd name="T8" fmla="*/ 5 w 456"/>
                <a:gd name="T9" fmla="*/ 645 h 646"/>
                <a:gd name="T10" fmla="*/ 9 w 456"/>
                <a:gd name="T11" fmla="*/ 646 h 646"/>
                <a:gd name="T12" fmla="*/ 11 w 456"/>
                <a:gd name="T13" fmla="*/ 646 h 646"/>
                <a:gd name="T14" fmla="*/ 12 w 456"/>
                <a:gd name="T15" fmla="*/ 646 h 646"/>
                <a:gd name="T16" fmla="*/ 16 w 456"/>
                <a:gd name="T17" fmla="*/ 646 h 646"/>
                <a:gd name="T18" fmla="*/ 18 w 456"/>
                <a:gd name="T19" fmla="*/ 645 h 646"/>
                <a:gd name="T20" fmla="*/ 21 w 456"/>
                <a:gd name="T21" fmla="*/ 644 h 646"/>
                <a:gd name="T22" fmla="*/ 22 w 456"/>
                <a:gd name="T23" fmla="*/ 641 h 646"/>
                <a:gd name="T24" fmla="*/ 126 w 456"/>
                <a:gd name="T25" fmla="*/ 469 h 646"/>
                <a:gd name="T26" fmla="*/ 315 w 456"/>
                <a:gd name="T27" fmla="*/ 569 h 646"/>
                <a:gd name="T28" fmla="*/ 317 w 456"/>
                <a:gd name="T29" fmla="*/ 570 h 646"/>
                <a:gd name="T30" fmla="*/ 320 w 456"/>
                <a:gd name="T31" fmla="*/ 572 h 646"/>
                <a:gd name="T32" fmla="*/ 323 w 456"/>
                <a:gd name="T33" fmla="*/ 570 h 646"/>
                <a:gd name="T34" fmla="*/ 325 w 456"/>
                <a:gd name="T35" fmla="*/ 570 h 646"/>
                <a:gd name="T36" fmla="*/ 329 w 456"/>
                <a:gd name="T37" fmla="*/ 567 h 646"/>
                <a:gd name="T38" fmla="*/ 332 w 456"/>
                <a:gd name="T39" fmla="*/ 561 h 646"/>
                <a:gd name="T40" fmla="*/ 456 w 456"/>
                <a:gd name="T41" fmla="*/ 0 h 646"/>
                <a:gd name="T42" fmla="*/ 0 w 456"/>
                <a:gd name="T43" fmla="*/ 42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6" h="646">
                  <a:moveTo>
                    <a:pt x="0" y="424"/>
                  </a:moveTo>
                  <a:lnTo>
                    <a:pt x="0" y="635"/>
                  </a:lnTo>
                  <a:lnTo>
                    <a:pt x="0" y="639"/>
                  </a:lnTo>
                  <a:lnTo>
                    <a:pt x="3" y="642"/>
                  </a:lnTo>
                  <a:lnTo>
                    <a:pt x="5" y="645"/>
                  </a:lnTo>
                  <a:lnTo>
                    <a:pt x="9" y="646"/>
                  </a:lnTo>
                  <a:lnTo>
                    <a:pt x="11" y="646"/>
                  </a:lnTo>
                  <a:lnTo>
                    <a:pt x="12" y="646"/>
                  </a:lnTo>
                  <a:lnTo>
                    <a:pt x="16" y="646"/>
                  </a:lnTo>
                  <a:lnTo>
                    <a:pt x="18" y="645"/>
                  </a:lnTo>
                  <a:lnTo>
                    <a:pt x="21" y="644"/>
                  </a:lnTo>
                  <a:lnTo>
                    <a:pt x="22" y="641"/>
                  </a:lnTo>
                  <a:lnTo>
                    <a:pt x="126" y="469"/>
                  </a:lnTo>
                  <a:lnTo>
                    <a:pt x="315" y="569"/>
                  </a:lnTo>
                  <a:lnTo>
                    <a:pt x="317" y="570"/>
                  </a:lnTo>
                  <a:lnTo>
                    <a:pt x="320" y="572"/>
                  </a:lnTo>
                  <a:lnTo>
                    <a:pt x="323" y="570"/>
                  </a:lnTo>
                  <a:lnTo>
                    <a:pt x="325" y="570"/>
                  </a:lnTo>
                  <a:lnTo>
                    <a:pt x="329" y="567"/>
                  </a:lnTo>
                  <a:lnTo>
                    <a:pt x="332" y="561"/>
                  </a:lnTo>
                  <a:lnTo>
                    <a:pt x="456" y="0"/>
                  </a:lnTo>
                  <a:lnTo>
                    <a:pt x="0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DDAFEEA-7C77-4738-9CEC-D04CFE3F3306}"/>
              </a:ext>
            </a:extLst>
          </p:cNvPr>
          <p:cNvSpPr/>
          <p:nvPr/>
        </p:nvSpPr>
        <p:spPr>
          <a:xfrm>
            <a:off x="220754" y="2726437"/>
            <a:ext cx="4210664" cy="71102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97930D1-D889-4C98-9307-30DD9857B31B}"/>
              </a:ext>
            </a:extLst>
          </p:cNvPr>
          <p:cNvSpPr/>
          <p:nvPr/>
        </p:nvSpPr>
        <p:spPr>
          <a:xfrm>
            <a:off x="3664508" y="2711063"/>
            <a:ext cx="714772" cy="714772"/>
          </a:xfrm>
          <a:prstGeom prst="ellipse">
            <a:avLst/>
          </a:prstGeom>
          <a:solidFill>
            <a:srgbClr val="404040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 950">
            <a:extLst>
              <a:ext uri="{FF2B5EF4-FFF2-40B4-BE49-F238E27FC236}">
                <a16:creationId xmlns:a16="http://schemas.microsoft.com/office/drawing/2014/main" id="{DF992E26-6825-42CE-8425-2CAA9340F6F3}"/>
              </a:ext>
            </a:extLst>
          </p:cNvPr>
          <p:cNvSpPr>
            <a:spLocks noEditPoints="1"/>
          </p:cNvSpPr>
          <p:nvPr/>
        </p:nvSpPr>
        <p:spPr bwMode="auto">
          <a:xfrm>
            <a:off x="3938811" y="2928653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Google Shape;369;p35">
            <a:extLst>
              <a:ext uri="{FF2B5EF4-FFF2-40B4-BE49-F238E27FC236}">
                <a16:creationId xmlns:a16="http://schemas.microsoft.com/office/drawing/2014/main" id="{E7FC8DFD-21E2-4CF5-8D81-D46DA40B4579}"/>
              </a:ext>
            </a:extLst>
          </p:cNvPr>
          <p:cNvSpPr txBox="1">
            <a:spLocks/>
          </p:cNvSpPr>
          <p:nvPr/>
        </p:nvSpPr>
        <p:spPr>
          <a:xfrm>
            <a:off x="1071672" y="2872388"/>
            <a:ext cx="3052491" cy="41912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ổng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an CSDL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70E71C71-2567-4696-9508-0346E3EED339}"/>
              </a:ext>
            </a:extLst>
          </p:cNvPr>
          <p:cNvSpPr/>
          <p:nvPr/>
        </p:nvSpPr>
        <p:spPr>
          <a:xfrm>
            <a:off x="1166615" y="3821339"/>
            <a:ext cx="3238085" cy="711023"/>
          </a:xfrm>
          <a:prstGeom prst="roundRect">
            <a:avLst>
              <a:gd name="adj" fmla="val 50000"/>
            </a:avLst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5D69285-EE6C-45DF-95AC-EBA566A5FA92}"/>
              </a:ext>
            </a:extLst>
          </p:cNvPr>
          <p:cNvSpPr/>
          <p:nvPr/>
        </p:nvSpPr>
        <p:spPr>
          <a:xfrm>
            <a:off x="3703825" y="3831572"/>
            <a:ext cx="688749" cy="714772"/>
          </a:xfrm>
          <a:prstGeom prst="ellipse">
            <a:avLst/>
          </a:prstGeom>
          <a:solidFill>
            <a:srgbClr val="7F7F7F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B5B605F-F62A-49BA-9079-509C90781CCE}"/>
              </a:ext>
            </a:extLst>
          </p:cNvPr>
          <p:cNvGrpSpPr/>
          <p:nvPr/>
        </p:nvGrpSpPr>
        <p:grpSpPr>
          <a:xfrm>
            <a:off x="3939758" y="4046083"/>
            <a:ext cx="239712" cy="285750"/>
            <a:chOff x="5494338" y="1370013"/>
            <a:chExt cx="239712" cy="285750"/>
          </a:xfrm>
          <a:solidFill>
            <a:schemeClr val="bg1"/>
          </a:solidFill>
        </p:grpSpPr>
        <p:sp>
          <p:nvSpPr>
            <p:cNvPr id="29" name="Freeform 961">
              <a:extLst>
                <a:ext uri="{FF2B5EF4-FFF2-40B4-BE49-F238E27FC236}">
                  <a16:creationId xmlns:a16="http://schemas.microsoft.com/office/drawing/2014/main" id="{88ABE40A-D5B7-41C8-A83E-B94B790A1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62">
              <a:extLst>
                <a:ext uri="{FF2B5EF4-FFF2-40B4-BE49-F238E27FC236}">
                  <a16:creationId xmlns:a16="http://schemas.microsoft.com/office/drawing/2014/main" id="{81A3E1A9-1805-4F8F-8A32-5756687F7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63">
              <a:extLst>
                <a:ext uri="{FF2B5EF4-FFF2-40B4-BE49-F238E27FC236}">
                  <a16:creationId xmlns:a16="http://schemas.microsoft.com/office/drawing/2014/main" id="{456AA9B7-CAC7-4A57-946D-E42CF436F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64">
              <a:extLst>
                <a:ext uri="{FF2B5EF4-FFF2-40B4-BE49-F238E27FC236}">
                  <a16:creationId xmlns:a16="http://schemas.microsoft.com/office/drawing/2014/main" id="{560B6CFC-E99C-4BF0-A5D2-C8085D173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1" name="Google Shape;369;p35">
            <a:extLst>
              <a:ext uri="{FF2B5EF4-FFF2-40B4-BE49-F238E27FC236}">
                <a16:creationId xmlns:a16="http://schemas.microsoft.com/office/drawing/2014/main" id="{197A10AF-1ABC-4DDC-9412-EA0CB4F4C2B4}"/>
              </a:ext>
            </a:extLst>
          </p:cNvPr>
          <p:cNvSpPr txBox="1">
            <a:spLocks/>
          </p:cNvSpPr>
          <p:nvPr/>
        </p:nvSpPr>
        <p:spPr>
          <a:xfrm>
            <a:off x="1414095" y="3959532"/>
            <a:ext cx="2355860" cy="41912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ựng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66A8F67-9D58-42F7-AE80-B67F6FEDD87E}"/>
              </a:ext>
            </a:extLst>
          </p:cNvPr>
          <p:cNvSpPr/>
          <p:nvPr/>
        </p:nvSpPr>
        <p:spPr>
          <a:xfrm>
            <a:off x="2014707" y="4821355"/>
            <a:ext cx="3191312" cy="711023"/>
          </a:xfrm>
          <a:prstGeom prst="roundRect">
            <a:avLst>
              <a:gd name="adj" fmla="val 50000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791FA77-C066-4310-ADB4-E29C777D1A45}"/>
              </a:ext>
            </a:extLst>
          </p:cNvPr>
          <p:cNvSpPr/>
          <p:nvPr/>
        </p:nvSpPr>
        <p:spPr>
          <a:xfrm>
            <a:off x="4482211" y="4834578"/>
            <a:ext cx="750282" cy="714772"/>
          </a:xfrm>
          <a:prstGeom prst="ellipse">
            <a:avLst/>
          </a:prstGeom>
          <a:solidFill>
            <a:srgbClr val="A6A6A6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Google Shape;369;p35">
            <a:extLst>
              <a:ext uri="{FF2B5EF4-FFF2-40B4-BE49-F238E27FC236}">
                <a16:creationId xmlns:a16="http://schemas.microsoft.com/office/drawing/2014/main" id="{7C44436F-E03B-4E79-B978-41B075BB2681}"/>
              </a:ext>
            </a:extLst>
          </p:cNvPr>
          <p:cNvSpPr txBox="1">
            <a:spLocks/>
          </p:cNvSpPr>
          <p:nvPr/>
        </p:nvSpPr>
        <p:spPr>
          <a:xfrm>
            <a:off x="2335851" y="5003938"/>
            <a:ext cx="2455754" cy="419120"/>
          </a:xfrm>
          <a:prstGeom prst="rect">
            <a:avLst/>
          </a:prstGeom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ận</a:t>
            </a:r>
            <a:r>
              <a:rPr lang="vi-V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vi-VN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Google Shape;8020;p56">
            <a:extLst>
              <a:ext uri="{FF2B5EF4-FFF2-40B4-BE49-F238E27FC236}">
                <a16:creationId xmlns:a16="http://schemas.microsoft.com/office/drawing/2014/main" id="{68626DE0-CD11-4E6E-BD8A-6FF383066288}"/>
              </a:ext>
            </a:extLst>
          </p:cNvPr>
          <p:cNvGrpSpPr/>
          <p:nvPr/>
        </p:nvGrpSpPr>
        <p:grpSpPr>
          <a:xfrm>
            <a:off x="4670405" y="5003938"/>
            <a:ext cx="359106" cy="355525"/>
            <a:chOff x="-49031025" y="3920175"/>
            <a:chExt cx="303350" cy="300325"/>
          </a:xfrm>
          <a:solidFill>
            <a:schemeClr val="bg2"/>
          </a:solidFill>
        </p:grpSpPr>
        <p:sp>
          <p:nvSpPr>
            <p:cNvPr id="61" name="Google Shape;8021;p56">
              <a:extLst>
                <a:ext uri="{FF2B5EF4-FFF2-40B4-BE49-F238E27FC236}">
                  <a16:creationId xmlns:a16="http://schemas.microsoft.com/office/drawing/2014/main" id="{C86D091C-C82A-46D8-9FB2-D617B364ACFB}"/>
                </a:ext>
              </a:extLst>
            </p:cNvPr>
            <p:cNvSpPr/>
            <p:nvPr/>
          </p:nvSpPr>
          <p:spPr>
            <a:xfrm>
              <a:off x="-49031025" y="4131875"/>
              <a:ext cx="109600" cy="88625"/>
            </a:xfrm>
            <a:custGeom>
              <a:avLst/>
              <a:gdLst/>
              <a:ahLst/>
              <a:cxnLst/>
              <a:rect l="l" t="t" r="r" b="b"/>
              <a:pathLst>
                <a:path w="4384" h="3545" extrusionOk="0">
                  <a:moveTo>
                    <a:pt x="472" y="1"/>
                  </a:moveTo>
                  <a:cubicBezTo>
                    <a:pt x="202" y="1"/>
                    <a:pt x="0" y="326"/>
                    <a:pt x="225" y="551"/>
                  </a:cubicBezTo>
                  <a:lnTo>
                    <a:pt x="2336" y="3387"/>
                  </a:lnTo>
                  <a:cubicBezTo>
                    <a:pt x="2399" y="3481"/>
                    <a:pt x="2494" y="3544"/>
                    <a:pt x="2620" y="3544"/>
                  </a:cubicBezTo>
                  <a:lnTo>
                    <a:pt x="4384" y="3544"/>
                  </a:lnTo>
                  <a:lnTo>
                    <a:pt x="2620" y="583"/>
                  </a:lnTo>
                  <a:lnTo>
                    <a:pt x="572" y="16"/>
                  </a:lnTo>
                  <a:cubicBezTo>
                    <a:pt x="538" y="5"/>
                    <a:pt x="505" y="1"/>
                    <a:pt x="4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8022;p56">
              <a:extLst>
                <a:ext uri="{FF2B5EF4-FFF2-40B4-BE49-F238E27FC236}">
                  <a16:creationId xmlns:a16="http://schemas.microsoft.com/office/drawing/2014/main" id="{4F2FD995-FA56-4F56-82DB-6CA7371485B3}"/>
                </a:ext>
              </a:extLst>
            </p:cNvPr>
            <p:cNvSpPr/>
            <p:nvPr/>
          </p:nvSpPr>
          <p:spPr>
            <a:xfrm>
              <a:off x="-48921450" y="3920175"/>
              <a:ext cx="79575" cy="130975"/>
            </a:xfrm>
            <a:custGeom>
              <a:avLst/>
              <a:gdLst/>
              <a:ahLst/>
              <a:cxnLst/>
              <a:rect l="l" t="t" r="r" b="b"/>
              <a:pathLst>
                <a:path w="3183" h="5239" extrusionOk="0">
                  <a:moveTo>
                    <a:pt x="302" y="1"/>
                  </a:moveTo>
                  <a:cubicBezTo>
                    <a:pt x="275" y="1"/>
                    <a:pt x="248" y="3"/>
                    <a:pt x="221" y="9"/>
                  </a:cubicBezTo>
                  <a:cubicBezTo>
                    <a:pt x="64" y="40"/>
                    <a:pt x="1" y="198"/>
                    <a:pt x="1" y="355"/>
                  </a:cubicBezTo>
                  <a:lnTo>
                    <a:pt x="64" y="1269"/>
                  </a:lnTo>
                  <a:lnTo>
                    <a:pt x="2584" y="5239"/>
                  </a:lnTo>
                  <a:lnTo>
                    <a:pt x="3183" y="4199"/>
                  </a:lnTo>
                  <a:lnTo>
                    <a:pt x="631" y="166"/>
                  </a:lnTo>
                  <a:cubicBezTo>
                    <a:pt x="553" y="62"/>
                    <a:pt x="431" y="1"/>
                    <a:pt x="3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8023;p56">
              <a:extLst>
                <a:ext uri="{FF2B5EF4-FFF2-40B4-BE49-F238E27FC236}">
                  <a16:creationId xmlns:a16="http://schemas.microsoft.com/office/drawing/2014/main" id="{30A7EDAE-9C7D-4D2E-B0A8-3326B6AB29F0}"/>
                </a:ext>
              </a:extLst>
            </p:cNvPr>
            <p:cNvSpPr/>
            <p:nvPr/>
          </p:nvSpPr>
          <p:spPr>
            <a:xfrm>
              <a:off x="-48842675" y="4008100"/>
              <a:ext cx="115000" cy="53300"/>
            </a:xfrm>
            <a:custGeom>
              <a:avLst/>
              <a:gdLst/>
              <a:ahLst/>
              <a:cxnLst/>
              <a:rect l="l" t="t" r="r" b="b"/>
              <a:pathLst>
                <a:path w="4600" h="2132" extrusionOk="0">
                  <a:moveTo>
                    <a:pt x="1359" y="0"/>
                  </a:moveTo>
                  <a:cubicBezTo>
                    <a:pt x="1245" y="0"/>
                    <a:pt x="1132" y="57"/>
                    <a:pt x="1072" y="178"/>
                  </a:cubicBezTo>
                  <a:lnTo>
                    <a:pt x="0" y="2131"/>
                  </a:lnTo>
                  <a:lnTo>
                    <a:pt x="4191" y="2131"/>
                  </a:lnTo>
                  <a:cubicBezTo>
                    <a:pt x="4317" y="2131"/>
                    <a:pt x="4506" y="2005"/>
                    <a:pt x="4537" y="1848"/>
                  </a:cubicBezTo>
                  <a:cubicBezTo>
                    <a:pt x="4600" y="1690"/>
                    <a:pt x="4537" y="1533"/>
                    <a:pt x="4380" y="1469"/>
                  </a:cubicBezTo>
                  <a:lnTo>
                    <a:pt x="1544" y="52"/>
                  </a:lnTo>
                  <a:cubicBezTo>
                    <a:pt x="1488" y="18"/>
                    <a:pt x="1423" y="0"/>
                    <a:pt x="13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8024;p56">
              <a:extLst>
                <a:ext uri="{FF2B5EF4-FFF2-40B4-BE49-F238E27FC236}">
                  <a16:creationId xmlns:a16="http://schemas.microsoft.com/office/drawing/2014/main" id="{E7367528-90F6-49DE-A81D-86736E66F9BF}"/>
                </a:ext>
              </a:extLst>
            </p:cNvPr>
            <p:cNvSpPr/>
            <p:nvPr/>
          </p:nvSpPr>
          <p:spPr>
            <a:xfrm>
              <a:off x="-48838750" y="4078700"/>
              <a:ext cx="51225" cy="66975"/>
            </a:xfrm>
            <a:custGeom>
              <a:avLst/>
              <a:gdLst/>
              <a:ahLst/>
              <a:cxnLst/>
              <a:rect l="l" t="t" r="r" b="b"/>
              <a:pathLst>
                <a:path w="2049" h="2679" extrusionOk="0">
                  <a:moveTo>
                    <a:pt x="1" y="0"/>
                  </a:moveTo>
                  <a:lnTo>
                    <a:pt x="1734" y="2678"/>
                  </a:lnTo>
                  <a:lnTo>
                    <a:pt x="2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8025;p56">
              <a:extLst>
                <a:ext uri="{FF2B5EF4-FFF2-40B4-BE49-F238E27FC236}">
                  <a16:creationId xmlns:a16="http://schemas.microsoft.com/office/drawing/2014/main" id="{0C9B8F50-8086-4C03-8147-8B55C99E6A8A}"/>
                </a:ext>
              </a:extLst>
            </p:cNvPr>
            <p:cNvSpPr/>
            <p:nvPr/>
          </p:nvSpPr>
          <p:spPr>
            <a:xfrm>
              <a:off x="-48975000" y="3920575"/>
              <a:ext cx="173300" cy="248725"/>
            </a:xfrm>
            <a:custGeom>
              <a:avLst/>
              <a:gdLst/>
              <a:ahLst/>
              <a:cxnLst/>
              <a:rect l="l" t="t" r="r" b="b"/>
              <a:pathLst>
                <a:path w="6932" h="9949" extrusionOk="0">
                  <a:moveTo>
                    <a:pt x="374" y="0"/>
                  </a:moveTo>
                  <a:cubicBezTo>
                    <a:pt x="334" y="0"/>
                    <a:pt x="293" y="8"/>
                    <a:pt x="253" y="24"/>
                  </a:cubicBezTo>
                  <a:cubicBezTo>
                    <a:pt x="95" y="87"/>
                    <a:pt x="1" y="245"/>
                    <a:pt x="1" y="402"/>
                  </a:cubicBezTo>
                  <a:lnTo>
                    <a:pt x="694" y="7585"/>
                  </a:lnTo>
                  <a:lnTo>
                    <a:pt x="6932" y="9948"/>
                  </a:lnTo>
                  <a:lnTo>
                    <a:pt x="694" y="182"/>
                  </a:lnTo>
                  <a:cubicBezTo>
                    <a:pt x="600" y="65"/>
                    <a:pt x="489" y="0"/>
                    <a:pt x="3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8026;p56">
              <a:extLst>
                <a:ext uri="{FF2B5EF4-FFF2-40B4-BE49-F238E27FC236}">
                  <a16:creationId xmlns:a16="http://schemas.microsoft.com/office/drawing/2014/main" id="{801AD4C9-FE1F-439B-8F85-E8716E1B7B69}"/>
                </a:ext>
              </a:extLst>
            </p:cNvPr>
            <p:cNvSpPr/>
            <p:nvPr/>
          </p:nvSpPr>
          <p:spPr>
            <a:xfrm>
              <a:off x="-48955300" y="4129900"/>
              <a:ext cx="151250" cy="89800"/>
            </a:xfrm>
            <a:custGeom>
              <a:avLst/>
              <a:gdLst/>
              <a:ahLst/>
              <a:cxnLst/>
              <a:rect l="l" t="t" r="r" b="b"/>
              <a:pathLst>
                <a:path w="6050" h="3592" extrusionOk="0">
                  <a:moveTo>
                    <a:pt x="0" y="0"/>
                  </a:moveTo>
                  <a:lnTo>
                    <a:pt x="2174" y="3592"/>
                  </a:lnTo>
                  <a:lnTo>
                    <a:pt x="5167" y="3592"/>
                  </a:lnTo>
                  <a:cubicBezTo>
                    <a:pt x="5293" y="3592"/>
                    <a:pt x="5419" y="3529"/>
                    <a:pt x="5482" y="3403"/>
                  </a:cubicBezTo>
                  <a:lnTo>
                    <a:pt x="6049" y="226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4" name="Footer Placeholder 2">
            <a:extLst>
              <a:ext uri="{FF2B5EF4-FFF2-40B4-BE49-F238E27FC236}">
                <a16:creationId xmlns:a16="http://schemas.microsoft.com/office/drawing/2014/main" id="{FB854420-0120-406B-9173-B396872D2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3187" y="6509710"/>
            <a:ext cx="1561696" cy="276999"/>
          </a:xfrm>
        </p:spPr>
        <p:txBody>
          <a:bodyPr/>
          <a:lstStyle/>
          <a:p>
            <a:r>
              <a:rPr lang="en-US" dirty="0"/>
              <a:t>SHOP LAPTOP T&amp;T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EF492DE-B67E-4C1B-865E-40133DD9D0DB}"/>
              </a:ext>
            </a:extLst>
          </p:cNvPr>
          <p:cNvSpPr/>
          <p:nvPr/>
        </p:nvSpPr>
        <p:spPr>
          <a:xfrm>
            <a:off x="-12696" y="-6296"/>
            <a:ext cx="3491826" cy="802927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ptop T&amp;T</a:t>
            </a:r>
            <a:endParaRPr kumimoji="0" lang="en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D7BACFE9-230D-446E-B029-BD9FF2407F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2421267" y="-26219"/>
            <a:ext cx="458495" cy="436306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C3FEFD30-8D86-43FF-9D0B-C6B8CBF48142}"/>
              </a:ext>
            </a:extLst>
          </p:cNvPr>
          <p:cNvSpPr/>
          <p:nvPr/>
        </p:nvSpPr>
        <p:spPr>
          <a:xfrm rot="16200000" flipH="1">
            <a:off x="-373722" y="356038"/>
            <a:ext cx="1068859" cy="34680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3710802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65000">
              <a:schemeClr val="accent1">
                <a:lumMod val="40000"/>
                <a:lumOff val="60000"/>
              </a:schemeClr>
            </a:gs>
            <a:gs pos="0">
              <a:srgbClr val="7030A0"/>
            </a:gs>
            <a:gs pos="100000">
              <a:srgbClr val="0070C0"/>
            </a:gs>
          </a:gsLst>
          <a:lin ang="15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4149968"/>
            <a:ext cx="3517549" cy="27080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1471"/>
          <a:stretch/>
        </p:blipFill>
        <p:spPr>
          <a:xfrm>
            <a:off x="-317241" y="4220005"/>
            <a:ext cx="3229673" cy="285200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37700" y="-42457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157535" y="1183026"/>
            <a:ext cx="802565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ư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hú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a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ã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ấ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ro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ị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ườ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ay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ì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ạ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r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à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ở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ê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yế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iệ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ầ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ế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ữ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kinh doanh,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ữ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công ty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ớ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ề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hú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âm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ế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ỏ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khác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ộ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ác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ố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ấ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hlinkClick r:id="rId13"/>
            <a:extLst>
              <a:ext uri="{FF2B5EF4-FFF2-40B4-BE49-F238E27FC236}">
                <a16:creationId xmlns:a16="http://schemas.microsoft.com/office/drawing/2014/main" id="{EDE849A8-DF87-49BD-BA54-274015B4D81B}"/>
              </a:ext>
            </a:extLst>
          </p:cNvPr>
          <p:cNvSpPr txBox="1"/>
          <p:nvPr/>
        </p:nvSpPr>
        <p:spPr>
          <a:xfrm>
            <a:off x="3388946" y="430759"/>
            <a:ext cx="5414107" cy="56263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vi-VN" sz="2000" b="1" dirty="0">
                <a:solidFill>
                  <a:srgbClr val="0F6FC6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Ý DO CHỌN ĐỀ TÀ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F6FC6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7987" y="5881436"/>
            <a:ext cx="2202460" cy="976563"/>
          </a:xfrm>
          <a:prstGeom prst="rect">
            <a:avLst/>
          </a:prstGeom>
        </p:spPr>
      </p:pic>
      <p:sp>
        <p:nvSpPr>
          <p:cNvPr id="75" name="Rectángulo 3">
            <a:extLst>
              <a:ext uri="{FF2B5EF4-FFF2-40B4-BE49-F238E27FC236}">
                <a16:creationId xmlns:a16="http://schemas.microsoft.com/office/drawing/2014/main" id="{7794A4FE-B0DD-44AF-9A59-C040CD7329EF}"/>
              </a:ext>
            </a:extLst>
          </p:cNvPr>
          <p:cNvSpPr/>
          <p:nvPr/>
        </p:nvSpPr>
        <p:spPr>
          <a:xfrm>
            <a:off x="3517549" y="3188545"/>
            <a:ext cx="802565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ay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iề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do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hiệp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iể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ệ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ố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bá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eo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o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ươ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ử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. So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ớ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kinh do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uyề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ố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ì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ươ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ử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chi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í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ấp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hơn,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iệ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ả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cao hơn. Hơ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ế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ữ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,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ớ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ợ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ế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ủ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cô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hệ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interne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ê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uyề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ả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ông ti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ề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s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ẩm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h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hó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,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uậ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.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Kế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ợp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ớ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bộ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ậ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giao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ậ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ơi,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ăng thêm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ợ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uậ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ể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o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ì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à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iể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"/>
              <a:cs typeface="Segoe UI" panose="020B0502040204020203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E3A7FCA-413A-462D-9228-D557163AB03C}"/>
              </a:ext>
            </a:extLst>
          </p:cNvPr>
          <p:cNvSpPr/>
          <p:nvPr/>
        </p:nvSpPr>
        <p:spPr>
          <a:xfrm>
            <a:off x="3067424" y="820835"/>
            <a:ext cx="251298" cy="25292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AAB693C-2CDD-4875-8A8F-517E42DF565B}"/>
              </a:ext>
            </a:extLst>
          </p:cNvPr>
          <p:cNvSpPr/>
          <p:nvPr/>
        </p:nvSpPr>
        <p:spPr>
          <a:xfrm>
            <a:off x="2792841" y="455285"/>
            <a:ext cx="284467" cy="3008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34C2E0-4A27-4071-B3AD-10DCF8DB86A7}"/>
              </a:ext>
            </a:extLst>
          </p:cNvPr>
          <p:cNvSpPr/>
          <p:nvPr/>
        </p:nvSpPr>
        <p:spPr>
          <a:xfrm rot="20988488" flipH="1" flipV="1">
            <a:off x="10087373" y="6484701"/>
            <a:ext cx="2260219" cy="3314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65000">
              <a:schemeClr val="accent1">
                <a:lumMod val="40000"/>
                <a:lumOff val="60000"/>
              </a:schemeClr>
            </a:gs>
            <a:gs pos="0">
              <a:srgbClr val="7030A0"/>
            </a:gs>
            <a:gs pos="100000">
              <a:srgbClr val="0070C0"/>
            </a:gs>
          </a:gsLst>
          <a:lin ang="15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raphic 50">
            <a:extLst>
              <a:ext uri="{FF2B5EF4-FFF2-40B4-BE49-F238E27FC236}">
                <a16:creationId xmlns:a16="http://schemas.microsoft.com/office/drawing/2014/main" id="{50DFA3A7-F1C0-4C2B-A30E-D490D9256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0" y="5269429"/>
            <a:ext cx="2430134" cy="158076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39A793-F356-45AC-A556-47A0CCFA4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76851-FE21-4646-98F0-F5FC65E04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z="2000" smtClean="0">
                <a:solidFill>
                  <a:schemeClr val="bg1"/>
                </a:solidFill>
              </a:rPr>
              <a:pPr/>
              <a:t>5</a:t>
            </a:fld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B630BF0-C64E-4E93-A9CA-5E2A05DEE2A2}"/>
              </a:ext>
            </a:extLst>
          </p:cNvPr>
          <p:cNvSpPr/>
          <p:nvPr/>
        </p:nvSpPr>
        <p:spPr>
          <a:xfrm rot="682001" flipH="1" flipV="1">
            <a:off x="8069223" y="46453"/>
            <a:ext cx="4138943" cy="2478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A4FE373-17BB-493F-A361-B12440813A1F}"/>
              </a:ext>
            </a:extLst>
          </p:cNvPr>
          <p:cNvSpPr/>
          <p:nvPr/>
        </p:nvSpPr>
        <p:spPr>
          <a:xfrm>
            <a:off x="943199" y="456750"/>
            <a:ext cx="572112" cy="5721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3DF543E-D479-4828-BA2F-2A24D956B7A2}"/>
              </a:ext>
            </a:extLst>
          </p:cNvPr>
          <p:cNvSpPr/>
          <p:nvPr/>
        </p:nvSpPr>
        <p:spPr>
          <a:xfrm>
            <a:off x="11441350" y="5846322"/>
            <a:ext cx="251298" cy="25292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72">
            <a:hlinkClick r:id="rId4"/>
            <a:extLst>
              <a:ext uri="{FF2B5EF4-FFF2-40B4-BE49-F238E27FC236}">
                <a16:creationId xmlns:a16="http://schemas.microsoft.com/office/drawing/2014/main" id="{72F224E9-5A2A-46D4-8702-9B53716B0456}"/>
              </a:ext>
            </a:extLst>
          </p:cNvPr>
          <p:cNvSpPr txBox="1"/>
          <p:nvPr/>
        </p:nvSpPr>
        <p:spPr>
          <a:xfrm>
            <a:off x="4266888" y="456750"/>
            <a:ext cx="3413410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ỤC ĐÍCH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4EEE90F-E371-42D6-A1B3-FCD64D4BB1A3}"/>
              </a:ext>
            </a:extLst>
          </p:cNvPr>
          <p:cNvSpPr/>
          <p:nvPr/>
        </p:nvSpPr>
        <p:spPr>
          <a:xfrm>
            <a:off x="10967940" y="5343726"/>
            <a:ext cx="473410" cy="4507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Half Frame 6">
            <a:extLst>
              <a:ext uri="{FF2B5EF4-FFF2-40B4-BE49-F238E27FC236}">
                <a16:creationId xmlns:a16="http://schemas.microsoft.com/office/drawing/2014/main" id="{394DC164-F807-448D-BEF8-A0888422FB72}"/>
              </a:ext>
            </a:extLst>
          </p:cNvPr>
          <p:cNvSpPr/>
          <p:nvPr/>
        </p:nvSpPr>
        <p:spPr>
          <a:xfrm>
            <a:off x="10605583" y="4995626"/>
            <a:ext cx="724714" cy="696200"/>
          </a:xfrm>
          <a:prstGeom prst="halfFram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>
              <a:solidFill>
                <a:schemeClr val="tx1"/>
              </a:solidFill>
            </a:endParaRPr>
          </a:p>
        </p:txBody>
      </p:sp>
      <p:sp>
        <p:nvSpPr>
          <p:cNvPr id="14" name="Rectángulo 3">
            <a:extLst>
              <a:ext uri="{FF2B5EF4-FFF2-40B4-BE49-F238E27FC236}">
                <a16:creationId xmlns:a16="http://schemas.microsoft.com/office/drawing/2014/main" id="{245E4FE2-59F8-43B4-98D0-5D678B07C50E}"/>
              </a:ext>
            </a:extLst>
          </p:cNvPr>
          <p:cNvSpPr/>
          <p:nvPr/>
        </p:nvSpPr>
        <p:spPr>
          <a:xfrm>
            <a:off x="414596" y="1248886"/>
            <a:ext cx="11362808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o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ờ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ươ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iệ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ử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à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iể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ứ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dụ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o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ộ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“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Website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Bá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á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í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”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ã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ma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ạ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iề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ý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hĩ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hư:</a:t>
            </a:r>
            <a:endParaRPr lang="vi-VN" sz="2800" dirty="0">
              <a:solidFill>
                <a:prstClr val="white"/>
              </a:solidFill>
              <a:latin typeface="Muli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-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ỡ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ố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iều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ờ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gia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ủ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ườ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dù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ũ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hư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ý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rong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ham gia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o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ộ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mua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bá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-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Giúp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gười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tiêu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dù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ó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ượ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giá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ả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ì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ả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ặ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ộ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ác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hí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xác</a:t>
            </a:r>
            <a:endParaRPr kumimoji="0" lang="vi-V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-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Giúp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ý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dễ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dà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hơ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o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việ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ý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s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ẩm</a:t>
            </a:r>
            <a:endParaRPr lang="vi-VN" sz="2800" dirty="0">
              <a:solidFill>
                <a:prstClr val="white"/>
              </a:solidFill>
              <a:latin typeface="Muli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-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à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qu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lý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ó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ể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hố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kê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ác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s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phẩm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bá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hạy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h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nhấ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giúp</a:t>
            </a:r>
            <a:endParaRPr kumimoji="0" lang="vi-V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cho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hoạ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động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sản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xuấ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kinh doanh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của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mình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rở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nên 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ố</a:t>
            </a:r>
            <a:r>
              <a:rPr kumimoji="0" lang="vi-VN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t</a:t>
            </a:r>
            <a:r>
              <a:rPr kumimoji="0" lang="vi-V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"/>
                <a:cs typeface="Segoe UI" panose="020B0502040204020203" pitchFamily="34" charset="0"/>
              </a:rPr>
              <a:t> hơn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"/>
              <a:cs typeface="Segoe UI" panose="020B0502040204020203" pitchFamily="34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918CD19-4BAD-4F39-B076-70ADC0997638}"/>
              </a:ext>
            </a:extLst>
          </p:cNvPr>
          <p:cNvSpPr/>
          <p:nvPr/>
        </p:nvSpPr>
        <p:spPr>
          <a:xfrm rot="16200000">
            <a:off x="-1023257" y="1979634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EAF2344-E229-45D8-A675-C2C59B38AF88}"/>
              </a:ext>
            </a:extLst>
          </p:cNvPr>
          <p:cNvSpPr/>
          <p:nvPr/>
        </p:nvSpPr>
        <p:spPr>
          <a:xfrm rot="5400000">
            <a:off x="8771138" y="1689178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9696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029B430-FA80-4A4A-A20B-8F0C101187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49" y="677644"/>
            <a:ext cx="11217612" cy="6180356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89BBF7E-8FC0-4595-B6EF-7033EC94F66F}"/>
              </a:ext>
            </a:extLst>
          </p:cNvPr>
          <p:cNvSpPr txBox="1"/>
          <p:nvPr/>
        </p:nvSpPr>
        <p:spPr>
          <a:xfrm>
            <a:off x="598241" y="543639"/>
            <a:ext cx="220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b="1" u="sng" dirty="0"/>
              <a:t>Mô </a:t>
            </a:r>
            <a:r>
              <a:rPr lang="vi-VN" b="1" u="sng" dirty="0" err="1"/>
              <a:t>hình</a:t>
            </a:r>
            <a:r>
              <a:rPr lang="vi-VN" b="1" u="sng" dirty="0"/>
              <a:t> </a:t>
            </a:r>
            <a:r>
              <a:rPr lang="vi-VN" b="1" u="sng" dirty="0" err="1"/>
              <a:t>Diagram</a:t>
            </a:r>
            <a:endParaRPr lang="vi-VN" b="1" u="sng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142489E-D0FB-4A64-BEE0-D3E01A421F06}"/>
              </a:ext>
            </a:extLst>
          </p:cNvPr>
          <p:cNvSpPr/>
          <p:nvPr/>
        </p:nvSpPr>
        <p:spPr>
          <a:xfrm flipH="1">
            <a:off x="128957" y="56780"/>
            <a:ext cx="11951673" cy="75105"/>
          </a:xfrm>
          <a:prstGeom prst="rect">
            <a:avLst/>
          </a:prstGeom>
          <a:solidFill>
            <a:srgbClr val="E37777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504B18BC-9890-45F1-82E8-0C8A7DD150E2}"/>
              </a:ext>
            </a:extLst>
          </p:cNvPr>
          <p:cNvSpPr/>
          <p:nvPr/>
        </p:nvSpPr>
        <p:spPr>
          <a:xfrm>
            <a:off x="111370" y="-66251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43BBE909-32E6-4FB7-931B-6A0EFBEC3AD8}"/>
              </a:ext>
            </a:extLst>
          </p:cNvPr>
          <p:cNvSpPr/>
          <p:nvPr/>
        </p:nvSpPr>
        <p:spPr>
          <a:xfrm rot="5400000">
            <a:off x="8731656" y="3340876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DAB323A-6216-454B-84E2-FC498393159B}"/>
              </a:ext>
            </a:extLst>
          </p:cNvPr>
          <p:cNvSpPr/>
          <p:nvPr/>
        </p:nvSpPr>
        <p:spPr>
          <a:xfrm>
            <a:off x="334108" y="430896"/>
            <a:ext cx="11465168" cy="6370323"/>
          </a:xfrm>
          <a:prstGeom prst="rect">
            <a:avLst/>
          </a:prstGeom>
          <a:noFill/>
          <a:ln>
            <a:solidFill>
              <a:srgbClr val="CE29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1CA9B557-9AAF-4FF8-9B27-A21A1D300DE4}"/>
              </a:ext>
            </a:extLst>
          </p:cNvPr>
          <p:cNvSpPr/>
          <p:nvPr/>
        </p:nvSpPr>
        <p:spPr>
          <a:xfrm>
            <a:off x="4019915" y="184675"/>
            <a:ext cx="3952875" cy="492443"/>
          </a:xfrm>
          <a:prstGeom prst="roundRect">
            <a:avLst>
              <a:gd name="adj" fmla="val 50000"/>
            </a:avLst>
          </a:prstGeom>
          <a:solidFill>
            <a:srgbClr val="CE295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vi-VN" sz="2800" b="1" dirty="0"/>
              <a:t>TỔNG QUAN CSDL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849773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BC9FDD1C-0088-4B68-8D3E-D08994E691B6}"/>
              </a:ext>
            </a:extLst>
          </p:cNvPr>
          <p:cNvGrpSpPr/>
          <p:nvPr/>
        </p:nvGrpSpPr>
        <p:grpSpPr>
          <a:xfrm>
            <a:off x="838200" y="954601"/>
            <a:ext cx="10434043" cy="5411031"/>
            <a:chOff x="904956" y="2489200"/>
            <a:chExt cx="4693260" cy="3937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00AEB6A-C28B-4036-A114-FDBCCDE26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B291723-9D4E-4D66-81B3-42A464E23C35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aptop T&amp;T</a:t>
              </a:r>
              <a:endPara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F4048B-6FDB-4566-B066-C723E3A1C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437241"/>
            <a:ext cx="10515600" cy="914096"/>
          </a:xfrm>
        </p:spPr>
        <p:txBody>
          <a:bodyPr/>
          <a:lstStyle/>
          <a:p>
            <a:r>
              <a:rPr lang="vi-VN" sz="6600" b="1" dirty="0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rPr>
              <a:t>XÂY DỰNG PHẦN MỀ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45FE5-6A74-4FC9-AAB2-2FC163A9B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HOP LAPTOP T&amp;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D6B0BB-F81C-421A-B164-86CA9B2DE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151BB8-7D2C-4C51-8423-877F197EC9CB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DCCFA7E-C15C-4EEE-BA8D-5E05C83DD7EF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4E03906-975E-4D05-B6E9-A348F90FF7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6781778" y="4999492"/>
            <a:ext cx="458495" cy="436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64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62">
            <a:extLst>
              <a:ext uri="{FF2B5EF4-FFF2-40B4-BE49-F238E27FC236}">
                <a16:creationId xmlns:a16="http://schemas.microsoft.com/office/drawing/2014/main" id="{CDEC36A5-1110-4066-8E59-30C2C44F3D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3153" y="189392"/>
            <a:ext cx="8260118" cy="6341067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9078615-B43D-4822-82AD-54E179B2904A}"/>
              </a:ext>
            </a:extLst>
          </p:cNvPr>
          <p:cNvSpPr/>
          <p:nvPr/>
        </p:nvSpPr>
        <p:spPr>
          <a:xfrm rot="16200000">
            <a:off x="980822" y="-645272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A67A7-00F7-4E74-A11D-6B051A02D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8547" y="589474"/>
            <a:ext cx="419100" cy="365125"/>
          </a:xfrm>
        </p:spPr>
        <p:txBody>
          <a:bodyPr/>
          <a:lstStyle/>
          <a:p>
            <a:fld id="{0FD50806-BABF-4915-9689-3B9956D1C75C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9A8DDBF2-389E-411D-AE9D-B77679E212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"/>
            <a:ext cx="3517549" cy="64123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2A316C-3996-4AA3-B847-6C49ED09D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04061" y="3038260"/>
            <a:ext cx="2798853" cy="2288766"/>
          </a:xfrm>
        </p:spPr>
        <p:txBody>
          <a:bodyPr/>
          <a:lstStyle/>
          <a:p>
            <a:r>
              <a:rPr lang="vi-VN" dirty="0">
                <a:solidFill>
                  <a:schemeClr val="bg1"/>
                </a:solidFill>
              </a:rPr>
              <a:t>SƠ ĐỒ CHỨC NĂNG </a:t>
            </a:r>
          </a:p>
        </p:txBody>
      </p:sp>
      <p:sp>
        <p:nvSpPr>
          <p:cNvPr id="65" name="Footer Placeholder 2">
            <a:extLst>
              <a:ext uri="{FF2B5EF4-FFF2-40B4-BE49-F238E27FC236}">
                <a16:creationId xmlns:a16="http://schemas.microsoft.com/office/drawing/2014/main" id="{61540EAB-F9BB-43C5-8FB5-C18ABE931F06}"/>
              </a:ext>
            </a:extLst>
          </p:cNvPr>
          <p:cNvSpPr txBox="1">
            <a:spLocks/>
          </p:cNvSpPr>
          <p:nvPr/>
        </p:nvSpPr>
        <p:spPr>
          <a:xfrm>
            <a:off x="10292499" y="6521438"/>
            <a:ext cx="1561696" cy="27699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HOP LAPTOP T&amp;T</a:t>
            </a:r>
          </a:p>
        </p:txBody>
      </p:sp>
    </p:spTree>
    <p:extLst>
      <p:ext uri="{BB962C8B-B14F-4D97-AF65-F5344CB8AC3E}">
        <p14:creationId xmlns:p14="http://schemas.microsoft.com/office/powerpoint/2010/main" val="561822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AB6311-A417-49E9-ADAE-24CD6EB321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5" b="17792"/>
          <a:stretch/>
        </p:blipFill>
        <p:spPr>
          <a:xfrm>
            <a:off x="1504354" y="0"/>
            <a:ext cx="9460550" cy="68580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C5D79B-BFAF-4316-B98D-3BBDEAFE81A4}"/>
              </a:ext>
            </a:extLst>
          </p:cNvPr>
          <p:cNvSpPr/>
          <p:nvPr/>
        </p:nvSpPr>
        <p:spPr>
          <a:xfrm>
            <a:off x="1887805" y="6159079"/>
            <a:ext cx="572112" cy="572112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4805D-CC6A-438B-BC2B-032941CDC4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863" b="24630"/>
          <a:stretch/>
        </p:blipFill>
        <p:spPr>
          <a:xfrm rot="4742679">
            <a:off x="1966294" y="6084928"/>
            <a:ext cx="458495" cy="436306"/>
          </a:xfrm>
          <a:prstGeom prst="rect">
            <a:avLst/>
          </a:prstGeom>
        </p:spPr>
      </p:pic>
      <p:sp>
        <p:nvSpPr>
          <p:cNvPr id="9" name="TextBox 47">
            <a:extLst>
              <a:ext uri="{FF2B5EF4-FFF2-40B4-BE49-F238E27FC236}">
                <a16:creationId xmlns:a16="http://schemas.microsoft.com/office/drawing/2014/main" id="{74748243-7D75-4D98-90D9-0F6352E9A78A}"/>
              </a:ext>
            </a:extLst>
          </p:cNvPr>
          <p:cNvSpPr txBox="1"/>
          <p:nvPr/>
        </p:nvSpPr>
        <p:spPr>
          <a:xfrm>
            <a:off x="4482612" y="6356208"/>
            <a:ext cx="398955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CE295E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1. Giao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diện</a:t>
            </a:r>
            <a:r>
              <a:rPr lang="vi-VN" sz="2400" b="1" dirty="0">
                <a:solidFill>
                  <a:srgbClr val="CE295E"/>
                </a:solidFill>
                <a:ea typeface="Gadugi" panose="020B0502040204020203" pitchFamily="34" charset="0"/>
              </a:rPr>
              <a:t> trang </a:t>
            </a:r>
            <a:r>
              <a:rPr lang="vi-VN" sz="2400" b="1" dirty="0" err="1">
                <a:solidFill>
                  <a:srgbClr val="CE295E"/>
                </a:solidFill>
                <a:ea typeface="Gadugi" panose="020B0502040204020203" pitchFamily="34" charset="0"/>
              </a:rPr>
              <a:t>chủ</a:t>
            </a:r>
            <a:endParaRPr lang="en-US" sz="2400" b="1" dirty="0">
              <a:solidFill>
                <a:srgbClr val="CE295E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7AD42D-573F-42CE-8417-94BB88BF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305" y="12912"/>
            <a:ext cx="4469033" cy="567216"/>
          </a:xfrm>
        </p:spPr>
        <p:txBody>
          <a:bodyPr>
            <a:noAutofit/>
          </a:bodyPr>
          <a:lstStyle/>
          <a:p>
            <a:r>
              <a:rPr lang="vi-V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 KẾ GIAO DIỆN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DF7AE2-9E9D-40A4-A487-1D8DAB7CC6E4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799AEA-2B4F-4226-8389-6E8BC23361B9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6DF760-BB4E-4612-9481-3620584C18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8927" y="466531"/>
            <a:ext cx="8583041" cy="491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747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7777"/>
      </a:accent1>
      <a:accent2>
        <a:srgbClr val="64A4CA"/>
      </a:accent2>
      <a:accent3>
        <a:srgbClr val="F2C232"/>
      </a:accent3>
      <a:accent4>
        <a:srgbClr val="66C5F3"/>
      </a:accent4>
      <a:accent5>
        <a:srgbClr val="E37777"/>
      </a:accent5>
      <a:accent6>
        <a:srgbClr val="64A4CA"/>
      </a:accent6>
      <a:hlink>
        <a:srgbClr val="0563C1"/>
      </a:hlink>
      <a:folHlink>
        <a:srgbClr val="954F72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20</TotalTime>
  <Words>729</Words>
  <Application>Microsoft Office PowerPoint</Application>
  <PresentationFormat>Widescreen</PresentationFormat>
  <Paragraphs>102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1" baseType="lpstr">
      <vt:lpstr>Arial</vt:lpstr>
      <vt:lpstr>Calibri</vt:lpstr>
      <vt:lpstr>Calibri Light</vt:lpstr>
      <vt:lpstr>Century Gothic</vt:lpstr>
      <vt:lpstr>Gadugi</vt:lpstr>
      <vt:lpstr>Muli</vt:lpstr>
      <vt:lpstr>Segoe UI</vt:lpstr>
      <vt:lpstr>Segoe UI Light</vt:lpstr>
      <vt:lpstr>Segoe WP Semibold</vt:lpstr>
      <vt:lpstr>Times New Roman</vt:lpstr>
      <vt:lpstr>Office Theme</vt:lpstr>
      <vt:lpstr>Tema de Office</vt:lpstr>
      <vt:lpstr>think-cell Slide</vt:lpstr>
      <vt:lpstr>PowerPoint Presentation</vt:lpstr>
      <vt:lpstr>PowerPoint Presentation</vt:lpstr>
      <vt:lpstr>NỘI DUNG CHÍNH</vt:lpstr>
      <vt:lpstr>PowerPoint Presentation</vt:lpstr>
      <vt:lpstr>PowerPoint Presentation</vt:lpstr>
      <vt:lpstr>PowerPoint Presentation</vt:lpstr>
      <vt:lpstr>XÂY DỰNG PHẦN MỀM</vt:lpstr>
      <vt:lpstr>SƠ ĐỒ CHỨC NĂNG 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THIẾT KẾ GIAO DIỆ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Thông Lê Văn</cp:lastModifiedBy>
  <cp:revision>297</cp:revision>
  <dcterms:created xsi:type="dcterms:W3CDTF">2018-02-12T03:40:49Z</dcterms:created>
  <dcterms:modified xsi:type="dcterms:W3CDTF">2022-03-03T02:02:16Z</dcterms:modified>
</cp:coreProperties>
</file>